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5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6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7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8" r:id="rId2"/>
    <p:sldMasterId id="2147483691" r:id="rId3"/>
    <p:sldMasterId id="2147483708" r:id="rId4"/>
    <p:sldMasterId id="2147483720" r:id="rId5"/>
    <p:sldMasterId id="2147483732" r:id="rId6"/>
    <p:sldMasterId id="2147483744" r:id="rId7"/>
  </p:sldMasterIdLst>
  <p:sldIdLst>
    <p:sldId id="270" r:id="rId8"/>
    <p:sldId id="272" r:id="rId9"/>
    <p:sldId id="274" r:id="rId10"/>
    <p:sldId id="260" r:id="rId11"/>
    <p:sldId id="261" r:id="rId12"/>
    <p:sldId id="262" r:id="rId13"/>
    <p:sldId id="263" r:id="rId14"/>
    <p:sldId id="264" r:id="rId15"/>
    <p:sldId id="265" r:id="rId16"/>
    <p:sldId id="266" r:id="rId17"/>
    <p:sldId id="267" r:id="rId18"/>
    <p:sldId id="268" r:id="rId19"/>
    <p:sldId id="269" r:id="rId20"/>
    <p:sldId id="273" r:id="rId2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6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26" d="100"/>
          <a:sy n="126" d="100"/>
        </p:scale>
        <p:origin x="-1194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090945A-D1BA-4B98-893D-977689471D1E}" type="doc">
      <dgm:prSet loTypeId="urn:microsoft.com/office/officeart/2008/layout/RadialCluster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28C9EB8-FEBE-4583-9B67-D55ABB72E702}">
      <dgm:prSet phldrT="[Text]"/>
      <dgm:spPr>
        <a:gradFill rotWithShape="0">
          <a:gsLst>
            <a:gs pos="0">
              <a:schemeClr val="bg1">
                <a:lumMod val="95000"/>
              </a:schemeClr>
            </a:gs>
            <a:gs pos="100000">
              <a:srgbClr val="F2F2F2"/>
            </a:gs>
          </a:gsLst>
          <a:lin ang="16200000" scaled="0"/>
        </a:gradFill>
        <a:ln>
          <a:solidFill>
            <a:schemeClr val="bg1">
              <a:lumMod val="50000"/>
            </a:schemeClr>
          </a:solidFill>
          <a:prstDash val="sysDash"/>
        </a:ln>
      </dgm:spPr>
      <dgm:t>
        <a:bodyPr/>
        <a:lstStyle/>
        <a:p>
          <a:r>
            <a:rPr lang="en-US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SLOVNAFT, </a:t>
          </a:r>
          <a:r>
            <a:rPr lang="en-US" dirty="0" err="1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a.s</a:t>
          </a:r>
          <a:r>
            <a:rPr lang="en-US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.</a:t>
          </a:r>
          <a:endParaRPr lang="en-US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E2107A7-4242-4DB9-89DB-3BB25F5DD5B4}" type="parTrans" cxnId="{4E859785-80A0-493D-AC31-7FFD7153A97F}">
      <dgm:prSet/>
      <dgm:spPr/>
      <dgm:t>
        <a:bodyPr/>
        <a:lstStyle/>
        <a:p>
          <a:endParaRPr lang="en-US"/>
        </a:p>
      </dgm:t>
    </dgm:pt>
    <dgm:pt modelId="{B2EF6E6A-3A9C-44E4-A939-F1BA320AAD0B}" type="sibTrans" cxnId="{4E859785-80A0-493D-AC31-7FFD7153A97F}">
      <dgm:prSet/>
      <dgm:spPr/>
      <dgm:t>
        <a:bodyPr/>
        <a:lstStyle/>
        <a:p>
          <a:endParaRPr lang="en-US"/>
        </a:p>
      </dgm:t>
    </dgm:pt>
    <dgm:pt modelId="{7F45C7FD-25E5-421B-8206-8C8006B59B43}">
      <dgm:prSet phldrT="[Text]" custT="1"/>
      <dgm:spPr>
        <a:noFill/>
        <a:ln>
          <a:solidFill>
            <a:schemeClr val="bg1">
              <a:lumMod val="50000"/>
            </a:schemeClr>
          </a:solidFill>
          <a:prstDash val="sysDash"/>
        </a:ln>
      </dgm:spPr>
      <dgm:t>
        <a:bodyPr anchor="t"/>
        <a:lstStyle/>
        <a:p>
          <a:pPr>
            <a:spcAft>
              <a:spcPts val="1800"/>
            </a:spcAft>
          </a:pPr>
          <a:r>
            <a:rPr lang="en-US" sz="16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Slovnaft Flagship</a:t>
          </a:r>
          <a:endParaRPr lang="sk-SK" sz="1600" dirty="0" smtClean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>
            <a:spcAft>
              <a:spcPts val="0"/>
            </a:spcAft>
          </a:pPr>
          <a:r>
            <a:rPr lang="sk-SK" sz="1200" dirty="0" err="1" smtClean="0">
              <a:solidFill>
                <a:schemeClr val="tx1">
                  <a:lumMod val="65000"/>
                  <a:lumOff val="35000"/>
                </a:schemeClr>
              </a:solidFill>
            </a:rPr>
            <a:t>All</a:t>
          </a:r>
          <a:r>
            <a:rPr lang="sk-SK" sz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 c</a:t>
          </a:r>
          <a:r>
            <a:rPr lang="en-US" sz="1200" dirty="0" err="1" smtClean="0">
              <a:solidFill>
                <a:schemeClr val="tx1">
                  <a:lumMod val="65000"/>
                  <a:lumOff val="35000"/>
                </a:schemeClr>
              </a:solidFill>
            </a:rPr>
            <a:t>ompanies</a:t>
          </a:r>
          <a:r>
            <a:rPr lang="en-US" sz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 under operational management by SLOVNAFT, </a:t>
          </a:r>
          <a:r>
            <a:rPr lang="en-US" sz="1200" dirty="0" err="1" smtClean="0">
              <a:solidFill>
                <a:schemeClr val="tx1">
                  <a:lumMod val="65000"/>
                  <a:lumOff val="35000"/>
                </a:schemeClr>
              </a:solidFill>
            </a:rPr>
            <a:t>a.s</a:t>
          </a:r>
          <a:r>
            <a:rPr lang="en-US" sz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. </a:t>
          </a:r>
          <a:endParaRPr lang="sk-SK" sz="1200" dirty="0" smtClean="0">
            <a:solidFill>
              <a:schemeClr val="tx1">
                <a:lumMod val="65000"/>
                <a:lumOff val="35000"/>
              </a:schemeClr>
            </a:solidFill>
          </a:endParaRPr>
        </a:p>
        <a:p>
          <a:pPr>
            <a:spcAft>
              <a:spcPts val="0"/>
            </a:spcAft>
          </a:pPr>
          <a:r>
            <a:rPr lang="en-US" sz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(Czech Republic, Austria, Germany</a:t>
          </a:r>
          <a:r>
            <a:rPr lang="sk-SK" sz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, </a:t>
          </a:r>
          <a:r>
            <a:rPr lang="sk-SK" sz="1200" dirty="0" err="1" smtClean="0">
              <a:solidFill>
                <a:schemeClr val="tx1">
                  <a:lumMod val="65000"/>
                  <a:lumOff val="35000"/>
                </a:schemeClr>
              </a:solidFill>
            </a:rPr>
            <a:t>Poland</a:t>
          </a:r>
          <a:r>
            <a:rPr lang="en-US" sz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)</a:t>
          </a:r>
          <a:endParaRPr lang="en-US" sz="120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F677F52-D595-4329-9A2A-A1BB7AAE19F5}" type="parTrans" cxnId="{791AFF65-7336-4FD7-B205-2F0723370B9D}">
      <dgm:prSet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  <dgm:pt modelId="{12D2E6B1-F577-4C0A-96C6-C1B1CCC89CEB}" type="sibTrans" cxnId="{791AFF65-7336-4FD7-B205-2F0723370B9D}">
      <dgm:prSet/>
      <dgm:spPr/>
      <dgm:t>
        <a:bodyPr/>
        <a:lstStyle/>
        <a:p>
          <a:endParaRPr lang="en-US"/>
        </a:p>
      </dgm:t>
    </dgm:pt>
    <dgm:pt modelId="{F2581C53-3418-4A44-B099-00DBD2BD38D3}">
      <dgm:prSet phldrT="[Text]" custT="1"/>
      <dgm:spPr>
        <a:noFill/>
        <a:ln>
          <a:solidFill>
            <a:schemeClr val="bg1">
              <a:lumMod val="50000"/>
            </a:schemeClr>
          </a:solidFill>
          <a:prstDash val="sysDash"/>
        </a:ln>
      </dgm:spPr>
      <dgm:t>
        <a:bodyPr anchor="t"/>
        <a:lstStyle/>
        <a:p>
          <a:pPr>
            <a:spcAft>
              <a:spcPts val="1800"/>
            </a:spcAft>
          </a:pPr>
          <a:r>
            <a:rPr lang="en-US" sz="16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Joint Ventures</a:t>
          </a:r>
          <a:endParaRPr lang="sk-SK" sz="1600" dirty="0" smtClean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>
            <a:spcAft>
              <a:spcPct val="35000"/>
            </a:spcAft>
          </a:pPr>
          <a:r>
            <a:rPr 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Companies </a:t>
          </a:r>
          <a:r>
            <a:rPr lang="en-US" sz="1100" u="sng" dirty="0" smtClean="0">
              <a:solidFill>
                <a:schemeClr val="tx1">
                  <a:lumMod val="65000"/>
                  <a:lumOff val="35000"/>
                </a:schemeClr>
              </a:solidFill>
            </a:rPr>
            <a:t>partially owned</a:t>
          </a:r>
          <a:r>
            <a:rPr 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 and managed by SLOVNAFT, </a:t>
          </a:r>
          <a:r>
            <a:rPr lang="en-US" sz="1100" dirty="0" err="1" smtClean="0">
              <a:solidFill>
                <a:schemeClr val="tx1">
                  <a:lumMod val="65000"/>
                  <a:lumOff val="35000"/>
                </a:schemeClr>
              </a:solidFill>
            </a:rPr>
            <a:t>a.s</a:t>
          </a:r>
          <a:r>
            <a:rPr 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. </a:t>
          </a:r>
          <a:endParaRPr lang="en-US" sz="110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762C386-1EA9-42C5-A5C9-5697ABF5A390}" type="parTrans" cxnId="{1B5A0F6F-DE7B-47C9-AD43-3E85BB5A601D}">
      <dgm:prSet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  <dgm:pt modelId="{8D47E8B5-31B8-42F3-9ADC-EA2C23601770}" type="sibTrans" cxnId="{1B5A0F6F-DE7B-47C9-AD43-3E85BB5A601D}">
      <dgm:prSet/>
      <dgm:spPr/>
      <dgm:t>
        <a:bodyPr/>
        <a:lstStyle/>
        <a:p>
          <a:endParaRPr lang="en-US"/>
        </a:p>
      </dgm:t>
    </dgm:pt>
    <dgm:pt modelId="{A67B1440-CD9A-4049-84FA-1376337DDE4C}">
      <dgm:prSet phldrT="[Text]" custT="1"/>
      <dgm:spPr>
        <a:noFill/>
        <a:ln>
          <a:solidFill>
            <a:schemeClr val="tx1">
              <a:lumMod val="50000"/>
              <a:lumOff val="50000"/>
            </a:schemeClr>
          </a:solidFill>
          <a:prstDash val="sysDash"/>
        </a:ln>
      </dgm:spPr>
      <dgm:t>
        <a:bodyPr anchor="t"/>
        <a:lstStyle/>
        <a:p>
          <a:pPr>
            <a:spcAft>
              <a:spcPts val="600"/>
            </a:spcAft>
          </a:pPr>
          <a:r>
            <a:rPr lang="en-US" sz="16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Slovnaft Group</a:t>
          </a:r>
          <a:endParaRPr lang="sk-SK" sz="1600" dirty="0" smtClean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>
            <a:spcAft>
              <a:spcPct val="35000"/>
            </a:spcAft>
          </a:pPr>
          <a:r>
            <a:rPr 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Companies </a:t>
          </a:r>
          <a:r>
            <a:rPr lang="en-US" sz="1100" u="sng" dirty="0" smtClean="0">
              <a:solidFill>
                <a:schemeClr val="tx1">
                  <a:lumMod val="65000"/>
                  <a:lumOff val="35000"/>
                </a:schemeClr>
              </a:solidFill>
            </a:rPr>
            <a:t>fully owned </a:t>
          </a:r>
          <a:r>
            <a:rPr 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and managed by SLOVNAFT, </a:t>
          </a:r>
          <a:r>
            <a:rPr lang="en-US" sz="1100" dirty="0" err="1" smtClean="0">
              <a:solidFill>
                <a:schemeClr val="tx1">
                  <a:lumMod val="65000"/>
                  <a:lumOff val="35000"/>
                </a:schemeClr>
              </a:solidFill>
            </a:rPr>
            <a:t>a.s</a:t>
          </a:r>
          <a:r>
            <a:rPr lang="en-US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. (Slovakia, Poland</a:t>
          </a:r>
          <a:r>
            <a:rPr lang="sk-SK" sz="1100" dirty="0" smtClean="0">
              <a:solidFill>
                <a:schemeClr val="tx1">
                  <a:lumMod val="65000"/>
                  <a:lumOff val="35000"/>
                </a:schemeClr>
              </a:solidFill>
            </a:rPr>
            <a:t>)</a:t>
          </a:r>
          <a:endParaRPr lang="en-US" sz="11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286DFB4-3581-4502-A197-A8D4F6040EF7}" type="parTrans" cxnId="{BF949FC6-EB94-4522-96E1-ECCB58698FB1}">
      <dgm:prSet/>
      <dgm:spPr>
        <a:ln>
          <a:noFill/>
        </a:ln>
      </dgm:spPr>
      <dgm:t>
        <a:bodyPr/>
        <a:lstStyle/>
        <a:p>
          <a:endParaRPr lang="en-US"/>
        </a:p>
      </dgm:t>
    </dgm:pt>
    <dgm:pt modelId="{F571D2FE-510E-4123-9F3B-AA31304CB050}" type="sibTrans" cxnId="{BF949FC6-EB94-4522-96E1-ECCB58698FB1}">
      <dgm:prSet/>
      <dgm:spPr/>
      <dgm:t>
        <a:bodyPr/>
        <a:lstStyle/>
        <a:p>
          <a:endParaRPr lang="en-US"/>
        </a:p>
      </dgm:t>
    </dgm:pt>
    <dgm:pt modelId="{B26FF2B8-8919-4E80-91E8-DBB805ADD709}" type="pres">
      <dgm:prSet presAssocID="{B090945A-D1BA-4B98-893D-977689471D1E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061D5F52-4FA5-4A79-9837-6E5BE71E33F7}" type="pres">
      <dgm:prSet presAssocID="{328C9EB8-FEBE-4583-9B67-D55ABB72E702}" presName="singleCycle" presStyleCnt="0"/>
      <dgm:spPr/>
    </dgm:pt>
    <dgm:pt modelId="{2C115971-4A4F-4767-8EBF-FFA25CF858D8}" type="pres">
      <dgm:prSet presAssocID="{328C9EB8-FEBE-4583-9B67-D55ABB72E702}" presName="singleCenter" presStyleLbl="node1" presStyleIdx="0" presStyleCnt="4" custAng="0" custLinFactNeighborX="-36440" custLinFactNeighborY="-48824">
        <dgm:presLayoutVars>
          <dgm:chMax val="7"/>
          <dgm:chPref val="7"/>
        </dgm:presLayoutVars>
      </dgm:prSet>
      <dgm:spPr/>
      <dgm:t>
        <a:bodyPr/>
        <a:lstStyle/>
        <a:p>
          <a:endParaRPr lang="en-US"/>
        </a:p>
      </dgm:t>
    </dgm:pt>
    <dgm:pt modelId="{846AACD0-FD76-4A9D-BA2F-2CC6AFEFC033}" type="pres">
      <dgm:prSet presAssocID="{BF677F52-D595-4329-9A2A-A1BB7AAE19F5}" presName="Name56" presStyleLbl="parChTrans1D2" presStyleIdx="0" presStyleCnt="3"/>
      <dgm:spPr/>
      <dgm:t>
        <a:bodyPr/>
        <a:lstStyle/>
        <a:p>
          <a:endParaRPr lang="en-US"/>
        </a:p>
      </dgm:t>
    </dgm:pt>
    <dgm:pt modelId="{C61E51AB-FEF3-4B4D-9B8F-EBB776DF18C1}" type="pres">
      <dgm:prSet presAssocID="{7F45C7FD-25E5-421B-8206-8C8006B59B43}" presName="text0" presStyleLbl="node1" presStyleIdx="1" presStyleCnt="4" custScaleX="472441" custScaleY="208406" custRadScaleRad="80333" custRadScaleInc="-18060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C8F19D9-C59F-410E-A70F-F26A8DE7386E}" type="pres">
      <dgm:prSet presAssocID="{0762C386-1EA9-42C5-A5C9-5697ABF5A390}" presName="Name56" presStyleLbl="parChTrans1D2" presStyleIdx="1" presStyleCnt="3"/>
      <dgm:spPr/>
      <dgm:t>
        <a:bodyPr/>
        <a:lstStyle/>
        <a:p>
          <a:endParaRPr lang="en-US"/>
        </a:p>
      </dgm:t>
    </dgm:pt>
    <dgm:pt modelId="{94FA098F-6390-4737-8240-0B14EF028EBE}" type="pres">
      <dgm:prSet presAssocID="{F2581C53-3418-4A44-B099-00DBD2BD38D3}" presName="text0" presStyleLbl="node1" presStyleIdx="2" presStyleCnt="4" custScaleX="292160" custScaleY="113448" custRadScaleRad="146697" custRadScaleInc="-11947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11EDFF0-5D78-4429-9B74-BE29F1931233}" type="pres">
      <dgm:prSet presAssocID="{0286DFB4-3581-4502-A197-A8D4F6040EF7}" presName="Name56" presStyleLbl="parChTrans1D2" presStyleIdx="2" presStyleCnt="3"/>
      <dgm:spPr/>
      <dgm:t>
        <a:bodyPr/>
        <a:lstStyle/>
        <a:p>
          <a:endParaRPr lang="en-US"/>
        </a:p>
      </dgm:t>
    </dgm:pt>
    <dgm:pt modelId="{AC07EBCB-F6A5-4A25-82D7-4A2E83A49D54}" type="pres">
      <dgm:prSet presAssocID="{A67B1440-CD9A-4049-84FA-1376337DDE4C}" presName="text0" presStyleLbl="node1" presStyleIdx="3" presStyleCnt="4" custScaleX="284741" custScaleY="86130" custRadScaleRad="91663" custRadScaleInc="-147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9A923E2-3848-4052-A9B5-4445CF5E22F3}" type="presOf" srcId="{7F45C7FD-25E5-421B-8206-8C8006B59B43}" destId="{C61E51AB-FEF3-4B4D-9B8F-EBB776DF18C1}" srcOrd="0" destOrd="0" presId="urn:microsoft.com/office/officeart/2008/layout/RadialCluster"/>
    <dgm:cxn modelId="{897FBD9A-21F1-4390-B2A2-4A32135D3D3E}" type="presOf" srcId="{A67B1440-CD9A-4049-84FA-1376337DDE4C}" destId="{AC07EBCB-F6A5-4A25-82D7-4A2E83A49D54}" srcOrd="0" destOrd="0" presId="urn:microsoft.com/office/officeart/2008/layout/RadialCluster"/>
    <dgm:cxn modelId="{1B5A0F6F-DE7B-47C9-AD43-3E85BB5A601D}" srcId="{328C9EB8-FEBE-4583-9B67-D55ABB72E702}" destId="{F2581C53-3418-4A44-B099-00DBD2BD38D3}" srcOrd="1" destOrd="0" parTransId="{0762C386-1EA9-42C5-A5C9-5697ABF5A390}" sibTransId="{8D47E8B5-31B8-42F3-9ADC-EA2C23601770}"/>
    <dgm:cxn modelId="{791AFF65-7336-4FD7-B205-2F0723370B9D}" srcId="{328C9EB8-FEBE-4583-9B67-D55ABB72E702}" destId="{7F45C7FD-25E5-421B-8206-8C8006B59B43}" srcOrd="0" destOrd="0" parTransId="{BF677F52-D595-4329-9A2A-A1BB7AAE19F5}" sibTransId="{12D2E6B1-F577-4C0A-96C6-C1B1CCC89CEB}"/>
    <dgm:cxn modelId="{BF949FC6-EB94-4522-96E1-ECCB58698FB1}" srcId="{328C9EB8-FEBE-4583-9B67-D55ABB72E702}" destId="{A67B1440-CD9A-4049-84FA-1376337DDE4C}" srcOrd="2" destOrd="0" parTransId="{0286DFB4-3581-4502-A197-A8D4F6040EF7}" sibTransId="{F571D2FE-510E-4123-9F3B-AA31304CB050}"/>
    <dgm:cxn modelId="{D1F3F1FF-A905-4EC8-AEA7-6AAC7347B4E6}" type="presOf" srcId="{F2581C53-3418-4A44-B099-00DBD2BD38D3}" destId="{94FA098F-6390-4737-8240-0B14EF028EBE}" srcOrd="0" destOrd="0" presId="urn:microsoft.com/office/officeart/2008/layout/RadialCluster"/>
    <dgm:cxn modelId="{C22FE7FF-103E-49E0-98CB-FAC35C71216D}" type="presOf" srcId="{0286DFB4-3581-4502-A197-A8D4F6040EF7}" destId="{A11EDFF0-5D78-4429-9B74-BE29F1931233}" srcOrd="0" destOrd="0" presId="urn:microsoft.com/office/officeart/2008/layout/RadialCluster"/>
    <dgm:cxn modelId="{4A0BAC38-0EE3-4102-BCF0-1C128A7D9974}" type="presOf" srcId="{0762C386-1EA9-42C5-A5C9-5697ABF5A390}" destId="{1C8F19D9-C59F-410E-A70F-F26A8DE7386E}" srcOrd="0" destOrd="0" presId="urn:microsoft.com/office/officeart/2008/layout/RadialCluster"/>
    <dgm:cxn modelId="{894822DB-F77D-4FC7-AC2C-772C91FB5268}" type="presOf" srcId="{328C9EB8-FEBE-4583-9B67-D55ABB72E702}" destId="{2C115971-4A4F-4767-8EBF-FFA25CF858D8}" srcOrd="0" destOrd="0" presId="urn:microsoft.com/office/officeart/2008/layout/RadialCluster"/>
    <dgm:cxn modelId="{8ED1B764-84E4-4895-8CE6-8BE9DB5B3E44}" type="presOf" srcId="{B090945A-D1BA-4B98-893D-977689471D1E}" destId="{B26FF2B8-8919-4E80-91E8-DBB805ADD709}" srcOrd="0" destOrd="0" presId="urn:microsoft.com/office/officeart/2008/layout/RadialCluster"/>
    <dgm:cxn modelId="{94D72C14-F37C-4D49-BE8B-C0845125C7B0}" type="presOf" srcId="{BF677F52-D595-4329-9A2A-A1BB7AAE19F5}" destId="{846AACD0-FD76-4A9D-BA2F-2CC6AFEFC033}" srcOrd="0" destOrd="0" presId="urn:microsoft.com/office/officeart/2008/layout/RadialCluster"/>
    <dgm:cxn modelId="{4E859785-80A0-493D-AC31-7FFD7153A97F}" srcId="{B090945A-D1BA-4B98-893D-977689471D1E}" destId="{328C9EB8-FEBE-4583-9B67-D55ABB72E702}" srcOrd="0" destOrd="0" parTransId="{8E2107A7-4242-4DB9-89DB-3BB25F5DD5B4}" sibTransId="{B2EF6E6A-3A9C-44E4-A939-F1BA320AAD0B}"/>
    <dgm:cxn modelId="{A4CFE121-1DD9-4B6D-97BB-5A4CDE6D4067}" type="presParOf" srcId="{B26FF2B8-8919-4E80-91E8-DBB805ADD709}" destId="{061D5F52-4FA5-4A79-9837-6E5BE71E33F7}" srcOrd="0" destOrd="0" presId="urn:microsoft.com/office/officeart/2008/layout/RadialCluster"/>
    <dgm:cxn modelId="{D4DB649F-D725-46FC-BA84-69515AEDE466}" type="presParOf" srcId="{061D5F52-4FA5-4A79-9837-6E5BE71E33F7}" destId="{2C115971-4A4F-4767-8EBF-FFA25CF858D8}" srcOrd="0" destOrd="0" presId="urn:microsoft.com/office/officeart/2008/layout/RadialCluster"/>
    <dgm:cxn modelId="{E38BF5F6-B170-46CE-BDDC-D269DB9B4C3B}" type="presParOf" srcId="{061D5F52-4FA5-4A79-9837-6E5BE71E33F7}" destId="{846AACD0-FD76-4A9D-BA2F-2CC6AFEFC033}" srcOrd="1" destOrd="0" presId="urn:microsoft.com/office/officeart/2008/layout/RadialCluster"/>
    <dgm:cxn modelId="{26B4F299-E6B1-4825-A0B9-1F4FF229EC1E}" type="presParOf" srcId="{061D5F52-4FA5-4A79-9837-6E5BE71E33F7}" destId="{C61E51AB-FEF3-4B4D-9B8F-EBB776DF18C1}" srcOrd="2" destOrd="0" presId="urn:microsoft.com/office/officeart/2008/layout/RadialCluster"/>
    <dgm:cxn modelId="{4D5CEA78-7020-49C8-A886-182E10521E48}" type="presParOf" srcId="{061D5F52-4FA5-4A79-9837-6E5BE71E33F7}" destId="{1C8F19D9-C59F-410E-A70F-F26A8DE7386E}" srcOrd="3" destOrd="0" presId="urn:microsoft.com/office/officeart/2008/layout/RadialCluster"/>
    <dgm:cxn modelId="{AAE74346-7047-484D-9923-EEC643F7621D}" type="presParOf" srcId="{061D5F52-4FA5-4A79-9837-6E5BE71E33F7}" destId="{94FA098F-6390-4737-8240-0B14EF028EBE}" srcOrd="4" destOrd="0" presId="urn:microsoft.com/office/officeart/2008/layout/RadialCluster"/>
    <dgm:cxn modelId="{34FA6D69-1956-4E45-93B4-7CBAAD0FF1C9}" type="presParOf" srcId="{061D5F52-4FA5-4A79-9837-6E5BE71E33F7}" destId="{A11EDFF0-5D78-4429-9B74-BE29F1931233}" srcOrd="5" destOrd="0" presId="urn:microsoft.com/office/officeart/2008/layout/RadialCluster"/>
    <dgm:cxn modelId="{0FF44511-513A-4AB7-A844-A1E46C8EB70D}" type="presParOf" srcId="{061D5F52-4FA5-4A79-9837-6E5BE71E33F7}" destId="{AC07EBCB-F6A5-4A25-82D7-4A2E83A49D54}" srcOrd="6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8E19BB7-0606-48BD-8D31-FA05FCE1C611}" type="doc">
      <dgm:prSet loTypeId="urn:microsoft.com/office/officeart/2005/8/layout/hierarchy6" loCatId="hierarchy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4F7DF2B-E14B-4A8C-B1CF-3B5C12E601D0}">
      <dgm:prSet phldrT="[Text]" custT="1"/>
      <dgm:spPr>
        <a:noFill/>
        <a:ln>
          <a:solidFill>
            <a:schemeClr val="bg1">
              <a:lumMod val="50000"/>
            </a:schemeClr>
          </a:solidFill>
        </a:ln>
        <a:effectLst/>
      </dgm:spPr>
      <dgm:t>
        <a:bodyPr/>
        <a:lstStyle/>
        <a:p>
          <a:r>
            <a:rPr lang="en-US" sz="20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Country Treasury Manager</a:t>
          </a:r>
          <a:endParaRPr lang="en-US" sz="200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056A2CC-ED74-46A2-B892-A52D6D7661AF}" type="parTrans" cxnId="{BE31F51D-6303-4F81-A3BF-4C7FAD44F30C}">
      <dgm:prSet/>
      <dgm:spPr/>
      <dgm:t>
        <a:bodyPr/>
        <a:lstStyle/>
        <a:p>
          <a:endParaRPr lang="en-US"/>
        </a:p>
      </dgm:t>
    </dgm:pt>
    <dgm:pt modelId="{5D63B462-6968-4756-BD68-20EE4DDC0522}" type="sibTrans" cxnId="{BE31F51D-6303-4F81-A3BF-4C7FAD44F30C}">
      <dgm:prSet/>
      <dgm:spPr/>
      <dgm:t>
        <a:bodyPr/>
        <a:lstStyle/>
        <a:p>
          <a:endParaRPr lang="en-US"/>
        </a:p>
      </dgm:t>
    </dgm:pt>
    <dgm:pt modelId="{EA3FCAC9-D786-4D7A-AF27-D759E00225B5}">
      <dgm:prSet phldrT="[Text]" custT="1"/>
      <dgm:spPr>
        <a:noFill/>
        <a:ln>
          <a:solidFill>
            <a:schemeClr val="bg1">
              <a:lumMod val="50000"/>
            </a:schemeClr>
          </a:solidFill>
        </a:ln>
        <a:effectLst/>
      </dgm:spPr>
      <dgm:t>
        <a:bodyPr/>
        <a:lstStyle/>
        <a:p>
          <a:r>
            <a:rPr lang="en-US" sz="20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Risk Management</a:t>
          </a:r>
          <a:endParaRPr lang="en-US" sz="200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7559612-EDCF-412B-9ABF-472AE909D0C2}" type="parTrans" cxnId="{7BB78396-CC1E-48A5-B202-D45D4ECF1CEB}">
      <dgm:prSet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  <dgm:pt modelId="{367BC076-4A7D-4E1E-BDF0-6A28B3C8D34F}" type="sibTrans" cxnId="{7BB78396-CC1E-48A5-B202-D45D4ECF1CEB}">
      <dgm:prSet/>
      <dgm:spPr/>
      <dgm:t>
        <a:bodyPr/>
        <a:lstStyle/>
        <a:p>
          <a:endParaRPr lang="en-US"/>
        </a:p>
      </dgm:t>
    </dgm:pt>
    <dgm:pt modelId="{C29CEAC3-C384-4AD8-96CD-56D4C49317F2}">
      <dgm:prSet custT="1"/>
      <dgm:spPr>
        <a:noFill/>
        <a:ln>
          <a:solidFill>
            <a:schemeClr val="bg1">
              <a:lumMod val="50000"/>
            </a:schemeClr>
          </a:solidFill>
        </a:ln>
        <a:effectLst/>
      </dgm:spPr>
      <dgm:t>
        <a:bodyPr/>
        <a:lstStyle/>
        <a:p>
          <a:r>
            <a:rPr lang="en-US" sz="20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Back Office</a:t>
          </a:r>
          <a:endParaRPr lang="en-US" sz="200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A76D65B-FF9D-42A6-A894-B107C9F10019}" type="parTrans" cxnId="{AA4022F4-CA79-43C2-AF83-E179BE0257EB}">
      <dgm:prSet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  <dgm:pt modelId="{BA8FE523-7E55-4016-A41E-172C17A241C4}" type="sibTrans" cxnId="{AA4022F4-CA79-43C2-AF83-E179BE0257EB}">
      <dgm:prSet/>
      <dgm:spPr/>
      <dgm:t>
        <a:bodyPr/>
        <a:lstStyle/>
        <a:p>
          <a:endParaRPr lang="en-US"/>
        </a:p>
      </dgm:t>
    </dgm:pt>
    <dgm:pt modelId="{08D9DC4B-B6B4-4471-ADF7-6EB14EF492DD}">
      <dgm:prSet phldrT="[Text]" custT="1"/>
      <dgm:spPr>
        <a:noFill/>
        <a:ln>
          <a:solidFill>
            <a:schemeClr val="bg1">
              <a:lumMod val="50000"/>
            </a:schemeClr>
          </a:solidFill>
        </a:ln>
        <a:effectLst/>
      </dgm:spPr>
      <dgm:t>
        <a:bodyPr/>
        <a:lstStyle/>
        <a:p>
          <a:r>
            <a:rPr lang="en-US" sz="20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Front Office</a:t>
          </a:r>
          <a:endParaRPr lang="en-US" sz="200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D1E48EE-1C53-4AC3-98D0-B5AD734127EA}" type="sibTrans" cxnId="{36D15A14-0457-4F49-A87A-CF713BFF3710}">
      <dgm:prSet/>
      <dgm:spPr/>
      <dgm:t>
        <a:bodyPr/>
        <a:lstStyle/>
        <a:p>
          <a:endParaRPr lang="en-US"/>
        </a:p>
      </dgm:t>
    </dgm:pt>
    <dgm:pt modelId="{DCB3F2EA-212A-4A78-A353-974E7FCC4F78}" type="parTrans" cxnId="{36D15A14-0457-4F49-A87A-CF713BFF3710}">
      <dgm:prSet/>
      <dgm:spPr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endParaRPr lang="en-US"/>
        </a:p>
      </dgm:t>
    </dgm:pt>
    <dgm:pt modelId="{F3543E3C-7BA4-4473-9F5D-7677BE26FDC2}" type="pres">
      <dgm:prSet presAssocID="{38E19BB7-0606-48BD-8D31-FA05FCE1C611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C9721C2-0643-4A06-849C-3C0DB18373E0}" type="pres">
      <dgm:prSet presAssocID="{38E19BB7-0606-48BD-8D31-FA05FCE1C611}" presName="hierFlow" presStyleCnt="0"/>
      <dgm:spPr/>
    </dgm:pt>
    <dgm:pt modelId="{B85A4F82-3C41-4BAF-B0F9-3998ECF5F59D}" type="pres">
      <dgm:prSet presAssocID="{38E19BB7-0606-48BD-8D31-FA05FCE1C611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AABD2BBA-DB2B-4593-BBA2-2B035D2F3B30}" type="pres">
      <dgm:prSet presAssocID="{F4F7DF2B-E14B-4A8C-B1CF-3B5C12E601D0}" presName="Name14" presStyleCnt="0"/>
      <dgm:spPr/>
    </dgm:pt>
    <dgm:pt modelId="{75BBC3FD-E49C-4B42-AFC3-0226ED97B4DF}" type="pres">
      <dgm:prSet presAssocID="{F4F7DF2B-E14B-4A8C-B1CF-3B5C12E601D0}" presName="level1Shap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F8E5D60-F14F-4A48-92F0-C59394CC1654}" type="pres">
      <dgm:prSet presAssocID="{F4F7DF2B-E14B-4A8C-B1CF-3B5C12E601D0}" presName="hierChild2" presStyleCnt="0"/>
      <dgm:spPr/>
    </dgm:pt>
    <dgm:pt modelId="{2EA0B9A6-6A9D-48F4-B4C3-8CC291DD3295}" type="pres">
      <dgm:prSet presAssocID="{DCB3F2EA-212A-4A78-A353-974E7FCC4F78}" presName="Name19" presStyleLbl="parChTrans1D2" presStyleIdx="0" presStyleCnt="3"/>
      <dgm:spPr/>
      <dgm:t>
        <a:bodyPr/>
        <a:lstStyle/>
        <a:p>
          <a:endParaRPr lang="en-US"/>
        </a:p>
      </dgm:t>
    </dgm:pt>
    <dgm:pt modelId="{157DB7C6-8132-436F-919C-6806CF6268EA}" type="pres">
      <dgm:prSet presAssocID="{08D9DC4B-B6B4-4471-ADF7-6EB14EF492DD}" presName="Name21" presStyleCnt="0"/>
      <dgm:spPr/>
    </dgm:pt>
    <dgm:pt modelId="{BE84E2F5-DFBA-45CA-A707-361475EF9A1B}" type="pres">
      <dgm:prSet presAssocID="{08D9DC4B-B6B4-4471-ADF7-6EB14EF492DD}" presName="level2Shape" presStyleLbl="node2" presStyleIdx="0" presStyleCnt="3"/>
      <dgm:spPr/>
      <dgm:t>
        <a:bodyPr/>
        <a:lstStyle/>
        <a:p>
          <a:endParaRPr lang="en-US"/>
        </a:p>
      </dgm:t>
    </dgm:pt>
    <dgm:pt modelId="{7E9AD65C-D18A-42A5-8C30-6E26DF1B9FC3}" type="pres">
      <dgm:prSet presAssocID="{08D9DC4B-B6B4-4471-ADF7-6EB14EF492DD}" presName="hierChild3" presStyleCnt="0"/>
      <dgm:spPr/>
    </dgm:pt>
    <dgm:pt modelId="{180F014E-E4CC-42B5-94CF-8AC80EAB68CA}" type="pres">
      <dgm:prSet presAssocID="{7A76D65B-FF9D-42A6-A894-B107C9F10019}" presName="Name19" presStyleLbl="parChTrans1D2" presStyleIdx="1" presStyleCnt="3"/>
      <dgm:spPr/>
      <dgm:t>
        <a:bodyPr/>
        <a:lstStyle/>
        <a:p>
          <a:endParaRPr lang="en-US"/>
        </a:p>
      </dgm:t>
    </dgm:pt>
    <dgm:pt modelId="{53B54888-B882-41F9-871C-E28F6ED63CA9}" type="pres">
      <dgm:prSet presAssocID="{C29CEAC3-C384-4AD8-96CD-56D4C49317F2}" presName="Name21" presStyleCnt="0"/>
      <dgm:spPr/>
    </dgm:pt>
    <dgm:pt modelId="{FCC094C0-4127-4946-83C7-9CD54D86953E}" type="pres">
      <dgm:prSet presAssocID="{C29CEAC3-C384-4AD8-96CD-56D4C49317F2}" presName="level2Shape" presStyleLbl="node2" presStyleIdx="1" presStyleCnt="3"/>
      <dgm:spPr/>
      <dgm:t>
        <a:bodyPr/>
        <a:lstStyle/>
        <a:p>
          <a:endParaRPr lang="en-US"/>
        </a:p>
      </dgm:t>
    </dgm:pt>
    <dgm:pt modelId="{B0A26168-52C0-4535-BAAC-C2ECC9C1E69A}" type="pres">
      <dgm:prSet presAssocID="{C29CEAC3-C384-4AD8-96CD-56D4C49317F2}" presName="hierChild3" presStyleCnt="0"/>
      <dgm:spPr/>
    </dgm:pt>
    <dgm:pt modelId="{3AFC25BE-1470-4B69-B230-C45C5221D4D9}" type="pres">
      <dgm:prSet presAssocID="{E7559612-EDCF-412B-9ABF-472AE909D0C2}" presName="Name19" presStyleLbl="parChTrans1D2" presStyleIdx="2" presStyleCnt="3"/>
      <dgm:spPr/>
      <dgm:t>
        <a:bodyPr/>
        <a:lstStyle/>
        <a:p>
          <a:endParaRPr lang="en-US"/>
        </a:p>
      </dgm:t>
    </dgm:pt>
    <dgm:pt modelId="{E098A376-8026-409A-AFC3-7AB137DAE06A}" type="pres">
      <dgm:prSet presAssocID="{EA3FCAC9-D786-4D7A-AF27-D759E00225B5}" presName="Name21" presStyleCnt="0"/>
      <dgm:spPr/>
    </dgm:pt>
    <dgm:pt modelId="{8A78ADB9-A07A-4001-B2C1-57FD33E0DF58}" type="pres">
      <dgm:prSet presAssocID="{EA3FCAC9-D786-4D7A-AF27-D759E00225B5}" presName="level2Shape" presStyleLbl="node2" presStyleIdx="2" presStyleCnt="3"/>
      <dgm:spPr/>
      <dgm:t>
        <a:bodyPr/>
        <a:lstStyle/>
        <a:p>
          <a:endParaRPr lang="en-US"/>
        </a:p>
      </dgm:t>
    </dgm:pt>
    <dgm:pt modelId="{816D3323-C1C4-4532-99D6-43C6FF9AAAFA}" type="pres">
      <dgm:prSet presAssocID="{EA3FCAC9-D786-4D7A-AF27-D759E00225B5}" presName="hierChild3" presStyleCnt="0"/>
      <dgm:spPr/>
    </dgm:pt>
    <dgm:pt modelId="{949B928A-FC57-44D6-992C-86FA3EE24326}" type="pres">
      <dgm:prSet presAssocID="{38E19BB7-0606-48BD-8D31-FA05FCE1C611}" presName="bgShapesFlow" presStyleCnt="0"/>
      <dgm:spPr/>
    </dgm:pt>
  </dgm:ptLst>
  <dgm:cxnLst>
    <dgm:cxn modelId="{F5FF1177-62E5-4D62-BA54-B54F4EFCB08D}" type="presOf" srcId="{08D9DC4B-B6B4-4471-ADF7-6EB14EF492DD}" destId="{BE84E2F5-DFBA-45CA-A707-361475EF9A1B}" srcOrd="0" destOrd="0" presId="urn:microsoft.com/office/officeart/2005/8/layout/hierarchy6"/>
    <dgm:cxn modelId="{AA4022F4-CA79-43C2-AF83-E179BE0257EB}" srcId="{F4F7DF2B-E14B-4A8C-B1CF-3B5C12E601D0}" destId="{C29CEAC3-C384-4AD8-96CD-56D4C49317F2}" srcOrd="1" destOrd="0" parTransId="{7A76D65B-FF9D-42A6-A894-B107C9F10019}" sibTransId="{BA8FE523-7E55-4016-A41E-172C17A241C4}"/>
    <dgm:cxn modelId="{226C6FC9-AC25-4A23-B750-D54A97243F98}" type="presOf" srcId="{7A76D65B-FF9D-42A6-A894-B107C9F10019}" destId="{180F014E-E4CC-42B5-94CF-8AC80EAB68CA}" srcOrd="0" destOrd="0" presId="urn:microsoft.com/office/officeart/2005/8/layout/hierarchy6"/>
    <dgm:cxn modelId="{BE31F51D-6303-4F81-A3BF-4C7FAD44F30C}" srcId="{38E19BB7-0606-48BD-8D31-FA05FCE1C611}" destId="{F4F7DF2B-E14B-4A8C-B1CF-3B5C12E601D0}" srcOrd="0" destOrd="0" parTransId="{9056A2CC-ED74-46A2-B892-A52D6D7661AF}" sibTransId="{5D63B462-6968-4756-BD68-20EE4DDC0522}"/>
    <dgm:cxn modelId="{7BB78396-CC1E-48A5-B202-D45D4ECF1CEB}" srcId="{F4F7DF2B-E14B-4A8C-B1CF-3B5C12E601D0}" destId="{EA3FCAC9-D786-4D7A-AF27-D759E00225B5}" srcOrd="2" destOrd="0" parTransId="{E7559612-EDCF-412B-9ABF-472AE909D0C2}" sibTransId="{367BC076-4A7D-4E1E-BDF0-6A28B3C8D34F}"/>
    <dgm:cxn modelId="{657D072D-9DE7-4BD3-B14A-5DBC959C1625}" type="presOf" srcId="{C29CEAC3-C384-4AD8-96CD-56D4C49317F2}" destId="{FCC094C0-4127-4946-83C7-9CD54D86953E}" srcOrd="0" destOrd="0" presId="urn:microsoft.com/office/officeart/2005/8/layout/hierarchy6"/>
    <dgm:cxn modelId="{2C1EDC45-E210-4404-9C0C-5CCE6352E196}" type="presOf" srcId="{EA3FCAC9-D786-4D7A-AF27-D759E00225B5}" destId="{8A78ADB9-A07A-4001-B2C1-57FD33E0DF58}" srcOrd="0" destOrd="0" presId="urn:microsoft.com/office/officeart/2005/8/layout/hierarchy6"/>
    <dgm:cxn modelId="{B2093013-9211-4DE1-B9D3-D10F2D4FAB58}" type="presOf" srcId="{38E19BB7-0606-48BD-8D31-FA05FCE1C611}" destId="{F3543E3C-7BA4-4473-9F5D-7677BE26FDC2}" srcOrd="0" destOrd="0" presId="urn:microsoft.com/office/officeart/2005/8/layout/hierarchy6"/>
    <dgm:cxn modelId="{85D8FA16-9507-49E4-8B49-7AAE4B6F27F5}" type="presOf" srcId="{E7559612-EDCF-412B-9ABF-472AE909D0C2}" destId="{3AFC25BE-1470-4B69-B230-C45C5221D4D9}" srcOrd="0" destOrd="0" presId="urn:microsoft.com/office/officeart/2005/8/layout/hierarchy6"/>
    <dgm:cxn modelId="{36D15A14-0457-4F49-A87A-CF713BFF3710}" srcId="{F4F7DF2B-E14B-4A8C-B1CF-3B5C12E601D0}" destId="{08D9DC4B-B6B4-4471-ADF7-6EB14EF492DD}" srcOrd="0" destOrd="0" parTransId="{DCB3F2EA-212A-4A78-A353-974E7FCC4F78}" sibTransId="{8D1E48EE-1C53-4AC3-98D0-B5AD734127EA}"/>
    <dgm:cxn modelId="{89C93D7F-2742-4E78-8929-2483EEF12CF0}" type="presOf" srcId="{F4F7DF2B-E14B-4A8C-B1CF-3B5C12E601D0}" destId="{75BBC3FD-E49C-4B42-AFC3-0226ED97B4DF}" srcOrd="0" destOrd="0" presId="urn:microsoft.com/office/officeart/2005/8/layout/hierarchy6"/>
    <dgm:cxn modelId="{51C86B55-DD1D-4FC3-BD63-B753670A2455}" type="presOf" srcId="{DCB3F2EA-212A-4A78-A353-974E7FCC4F78}" destId="{2EA0B9A6-6A9D-48F4-B4C3-8CC291DD3295}" srcOrd="0" destOrd="0" presId="urn:microsoft.com/office/officeart/2005/8/layout/hierarchy6"/>
    <dgm:cxn modelId="{B259CA70-A5EB-4197-8E21-3A32329581C6}" type="presParOf" srcId="{F3543E3C-7BA4-4473-9F5D-7677BE26FDC2}" destId="{AC9721C2-0643-4A06-849C-3C0DB18373E0}" srcOrd="0" destOrd="0" presId="urn:microsoft.com/office/officeart/2005/8/layout/hierarchy6"/>
    <dgm:cxn modelId="{AC461616-C80A-4ACE-8980-BA9A4D9818D2}" type="presParOf" srcId="{AC9721C2-0643-4A06-849C-3C0DB18373E0}" destId="{B85A4F82-3C41-4BAF-B0F9-3998ECF5F59D}" srcOrd="0" destOrd="0" presId="urn:microsoft.com/office/officeart/2005/8/layout/hierarchy6"/>
    <dgm:cxn modelId="{5BF50FC9-99B4-44FB-9FF7-B3C0C4F3A2D3}" type="presParOf" srcId="{B85A4F82-3C41-4BAF-B0F9-3998ECF5F59D}" destId="{AABD2BBA-DB2B-4593-BBA2-2B035D2F3B30}" srcOrd="0" destOrd="0" presId="urn:microsoft.com/office/officeart/2005/8/layout/hierarchy6"/>
    <dgm:cxn modelId="{30486C4F-A572-4124-87A7-9C81FDCFC423}" type="presParOf" srcId="{AABD2BBA-DB2B-4593-BBA2-2B035D2F3B30}" destId="{75BBC3FD-E49C-4B42-AFC3-0226ED97B4DF}" srcOrd="0" destOrd="0" presId="urn:microsoft.com/office/officeart/2005/8/layout/hierarchy6"/>
    <dgm:cxn modelId="{D6F9C94C-7899-471C-9D4F-6F3311AEF963}" type="presParOf" srcId="{AABD2BBA-DB2B-4593-BBA2-2B035D2F3B30}" destId="{0F8E5D60-F14F-4A48-92F0-C59394CC1654}" srcOrd="1" destOrd="0" presId="urn:microsoft.com/office/officeart/2005/8/layout/hierarchy6"/>
    <dgm:cxn modelId="{FBAC6B63-F42E-4128-A89A-747B3668EA63}" type="presParOf" srcId="{0F8E5D60-F14F-4A48-92F0-C59394CC1654}" destId="{2EA0B9A6-6A9D-48F4-B4C3-8CC291DD3295}" srcOrd="0" destOrd="0" presId="urn:microsoft.com/office/officeart/2005/8/layout/hierarchy6"/>
    <dgm:cxn modelId="{FDE16170-BBDB-4F3A-AB2C-77ADB54374B9}" type="presParOf" srcId="{0F8E5D60-F14F-4A48-92F0-C59394CC1654}" destId="{157DB7C6-8132-436F-919C-6806CF6268EA}" srcOrd="1" destOrd="0" presId="urn:microsoft.com/office/officeart/2005/8/layout/hierarchy6"/>
    <dgm:cxn modelId="{BBEFA85C-0EA4-49B2-AF4C-B5FC4A21D573}" type="presParOf" srcId="{157DB7C6-8132-436F-919C-6806CF6268EA}" destId="{BE84E2F5-DFBA-45CA-A707-361475EF9A1B}" srcOrd="0" destOrd="0" presId="urn:microsoft.com/office/officeart/2005/8/layout/hierarchy6"/>
    <dgm:cxn modelId="{C3761475-47F9-49BB-BBE3-AC87682A90D3}" type="presParOf" srcId="{157DB7C6-8132-436F-919C-6806CF6268EA}" destId="{7E9AD65C-D18A-42A5-8C30-6E26DF1B9FC3}" srcOrd="1" destOrd="0" presId="urn:microsoft.com/office/officeart/2005/8/layout/hierarchy6"/>
    <dgm:cxn modelId="{5139613F-F4DB-4BF3-BD96-2376C68F6681}" type="presParOf" srcId="{0F8E5D60-F14F-4A48-92F0-C59394CC1654}" destId="{180F014E-E4CC-42B5-94CF-8AC80EAB68CA}" srcOrd="2" destOrd="0" presId="urn:microsoft.com/office/officeart/2005/8/layout/hierarchy6"/>
    <dgm:cxn modelId="{A4BB2FAA-91D5-4F8B-9E52-220D307BCABA}" type="presParOf" srcId="{0F8E5D60-F14F-4A48-92F0-C59394CC1654}" destId="{53B54888-B882-41F9-871C-E28F6ED63CA9}" srcOrd="3" destOrd="0" presId="urn:microsoft.com/office/officeart/2005/8/layout/hierarchy6"/>
    <dgm:cxn modelId="{83552CF5-D9DA-4795-B5E8-C3791C8B30CB}" type="presParOf" srcId="{53B54888-B882-41F9-871C-E28F6ED63CA9}" destId="{FCC094C0-4127-4946-83C7-9CD54D86953E}" srcOrd="0" destOrd="0" presId="urn:microsoft.com/office/officeart/2005/8/layout/hierarchy6"/>
    <dgm:cxn modelId="{8FAADF20-8983-4856-A5A7-D998800DD8FD}" type="presParOf" srcId="{53B54888-B882-41F9-871C-E28F6ED63CA9}" destId="{B0A26168-52C0-4535-BAAC-C2ECC9C1E69A}" srcOrd="1" destOrd="0" presId="urn:microsoft.com/office/officeart/2005/8/layout/hierarchy6"/>
    <dgm:cxn modelId="{1D28080E-BD7E-43B5-86B8-717A6C081E5D}" type="presParOf" srcId="{0F8E5D60-F14F-4A48-92F0-C59394CC1654}" destId="{3AFC25BE-1470-4B69-B230-C45C5221D4D9}" srcOrd="4" destOrd="0" presId="urn:microsoft.com/office/officeart/2005/8/layout/hierarchy6"/>
    <dgm:cxn modelId="{F1A134A9-E0F1-4F36-A07A-898CC2753042}" type="presParOf" srcId="{0F8E5D60-F14F-4A48-92F0-C59394CC1654}" destId="{E098A376-8026-409A-AFC3-7AB137DAE06A}" srcOrd="5" destOrd="0" presId="urn:microsoft.com/office/officeart/2005/8/layout/hierarchy6"/>
    <dgm:cxn modelId="{1351BBDF-AA06-428B-9E51-9954163CD26F}" type="presParOf" srcId="{E098A376-8026-409A-AFC3-7AB137DAE06A}" destId="{8A78ADB9-A07A-4001-B2C1-57FD33E0DF58}" srcOrd="0" destOrd="0" presId="urn:microsoft.com/office/officeart/2005/8/layout/hierarchy6"/>
    <dgm:cxn modelId="{E1ACA14E-B3D0-4361-9A63-9CEC3528BF31}" type="presParOf" srcId="{E098A376-8026-409A-AFC3-7AB137DAE06A}" destId="{816D3323-C1C4-4532-99D6-43C6FF9AAAFA}" srcOrd="1" destOrd="0" presId="urn:microsoft.com/office/officeart/2005/8/layout/hierarchy6"/>
    <dgm:cxn modelId="{9955DBCD-ECD6-4DC4-93A0-EADB08C009B7}" type="presParOf" srcId="{F3543E3C-7BA4-4473-9F5D-7677BE26FDC2}" destId="{949B928A-FC57-44D6-992C-86FA3EE24326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115971-4A4F-4767-8EBF-FFA25CF858D8}">
      <dsp:nvSpPr>
        <dsp:cNvPr id="0" name=""/>
        <dsp:cNvSpPr/>
      </dsp:nvSpPr>
      <dsp:spPr>
        <a:xfrm>
          <a:off x="1752613" y="325192"/>
          <a:ext cx="1552120" cy="1552120"/>
        </a:xfrm>
        <a:prstGeom prst="roundRect">
          <a:avLst/>
        </a:prstGeom>
        <a:gradFill rotWithShape="0">
          <a:gsLst>
            <a:gs pos="0">
              <a:schemeClr val="bg1">
                <a:lumMod val="95000"/>
              </a:schemeClr>
            </a:gs>
            <a:gs pos="100000">
              <a:srgbClr val="F2F2F2"/>
            </a:gs>
          </a:gsLst>
          <a:lin ang="16200000" scaled="0"/>
        </a:gradFill>
        <a:ln w="25400" cap="flat" cmpd="sng" algn="ctr">
          <a:solidFill>
            <a:schemeClr val="bg1">
              <a:lumMod val="50000"/>
            </a:schemeClr>
          </a:solidFill>
          <a:prstDash val="sysDash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SLOVNAFT, </a:t>
          </a:r>
          <a:r>
            <a:rPr lang="en-US" sz="1800" kern="1200" dirty="0" err="1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a.s</a:t>
          </a:r>
          <a:r>
            <a:rPr lang="en-US" sz="1800" kern="12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.</a:t>
          </a:r>
          <a:endParaRPr lang="en-US" sz="1800" kern="120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828381" y="400960"/>
        <a:ext cx="1400584" cy="1400584"/>
      </dsp:txXfrm>
    </dsp:sp>
    <dsp:sp modelId="{846AACD0-FD76-4A9D-BA2F-2CC6AFEFC033}">
      <dsp:nvSpPr>
        <dsp:cNvPr id="0" name=""/>
        <dsp:cNvSpPr/>
      </dsp:nvSpPr>
      <dsp:spPr>
        <a:xfrm rot="5484592">
          <a:off x="1959941" y="2413583"/>
          <a:ext cx="107286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072866" y="0"/>
              </a:lnTo>
            </a:path>
          </a:pathLst>
        </a:custGeom>
        <a:noFill/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1E51AB-FEF3-4B4D-9B8F-EBB776DF18C1}">
      <dsp:nvSpPr>
        <dsp:cNvPr id="0" name=""/>
        <dsp:cNvSpPr/>
      </dsp:nvSpPr>
      <dsp:spPr>
        <a:xfrm>
          <a:off x="0" y="2949854"/>
          <a:ext cx="4913010" cy="2167256"/>
        </a:xfrm>
        <a:prstGeom prst="roundRect">
          <a:avLst/>
        </a:prstGeom>
        <a:noFill/>
        <a:ln w="25400" cap="flat" cmpd="sng" algn="ctr">
          <a:solidFill>
            <a:schemeClr val="bg1">
              <a:lumMod val="50000"/>
            </a:schemeClr>
          </a:solidFill>
          <a:prstDash val="sysDash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1800"/>
            </a:spcAft>
          </a:pPr>
          <a:r>
            <a:rPr lang="en-US" sz="1600" kern="12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Slovnaft Flagship</a:t>
          </a:r>
          <a:endParaRPr lang="sk-SK" sz="1600" kern="1200" dirty="0" smtClean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sk-SK" sz="1200" kern="1200" dirty="0" err="1" smtClean="0">
              <a:solidFill>
                <a:schemeClr val="tx1">
                  <a:lumMod val="65000"/>
                  <a:lumOff val="35000"/>
                </a:schemeClr>
              </a:solidFill>
            </a:rPr>
            <a:t>All</a:t>
          </a:r>
          <a:r>
            <a:rPr lang="sk-SK" sz="12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 c</a:t>
          </a:r>
          <a:r>
            <a:rPr lang="en-US" sz="1200" kern="1200" dirty="0" err="1" smtClean="0">
              <a:solidFill>
                <a:schemeClr val="tx1">
                  <a:lumMod val="65000"/>
                  <a:lumOff val="35000"/>
                </a:schemeClr>
              </a:solidFill>
            </a:rPr>
            <a:t>ompanies</a:t>
          </a:r>
          <a:r>
            <a:rPr lang="en-US" sz="12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 under operational management by SLOVNAFT, </a:t>
          </a:r>
          <a:r>
            <a:rPr lang="en-US" sz="1200" kern="1200" dirty="0" err="1" smtClean="0">
              <a:solidFill>
                <a:schemeClr val="tx1">
                  <a:lumMod val="65000"/>
                  <a:lumOff val="35000"/>
                </a:schemeClr>
              </a:solidFill>
            </a:rPr>
            <a:t>a.s</a:t>
          </a:r>
          <a:r>
            <a:rPr lang="en-US" sz="12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. </a:t>
          </a:r>
          <a:endParaRPr lang="sk-SK" sz="1200" kern="1200" dirty="0" smtClean="0">
            <a:solidFill>
              <a:schemeClr val="tx1">
                <a:lumMod val="65000"/>
                <a:lumOff val="35000"/>
              </a:schemeClr>
            </a:solidFill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2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(Czech Republic, Austria, Germany</a:t>
          </a:r>
          <a:r>
            <a:rPr lang="sk-SK" sz="12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, </a:t>
          </a:r>
          <a:r>
            <a:rPr lang="sk-SK" sz="1200" kern="1200" dirty="0" err="1" smtClean="0">
              <a:solidFill>
                <a:schemeClr val="tx1">
                  <a:lumMod val="65000"/>
                  <a:lumOff val="35000"/>
                </a:schemeClr>
              </a:solidFill>
            </a:rPr>
            <a:t>Poland</a:t>
          </a:r>
          <a:r>
            <a:rPr lang="en-US" sz="12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)</a:t>
          </a:r>
          <a:endParaRPr lang="en-US" sz="1200" kern="120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05797" y="3055651"/>
        <a:ext cx="4701416" cy="1955662"/>
      </dsp:txXfrm>
    </dsp:sp>
    <dsp:sp modelId="{1C8F19D9-C59F-410E-A70F-F26A8DE7386E}">
      <dsp:nvSpPr>
        <dsp:cNvPr id="0" name=""/>
        <dsp:cNvSpPr/>
      </dsp:nvSpPr>
      <dsp:spPr>
        <a:xfrm rot="1749">
          <a:off x="3304733" y="1102170"/>
          <a:ext cx="205555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055551" y="0"/>
              </a:lnTo>
            </a:path>
          </a:pathLst>
        </a:custGeom>
        <a:noFill/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FA098F-6390-4737-8240-0B14EF028EBE}">
      <dsp:nvSpPr>
        <dsp:cNvPr id="0" name=""/>
        <dsp:cNvSpPr/>
      </dsp:nvSpPr>
      <dsp:spPr>
        <a:xfrm>
          <a:off x="5360284" y="513581"/>
          <a:ext cx="3038231" cy="1179769"/>
        </a:xfrm>
        <a:prstGeom prst="roundRect">
          <a:avLst/>
        </a:prstGeom>
        <a:noFill/>
        <a:ln w="25400" cap="flat" cmpd="sng" algn="ctr">
          <a:solidFill>
            <a:schemeClr val="bg1">
              <a:lumMod val="50000"/>
            </a:schemeClr>
          </a:solidFill>
          <a:prstDash val="sysDash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1800"/>
            </a:spcAft>
          </a:pPr>
          <a:r>
            <a:rPr lang="en-US" sz="1600" kern="12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Joint Ventures</a:t>
          </a:r>
          <a:endParaRPr lang="sk-SK" sz="1600" kern="1200" dirty="0" smtClean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Companies </a:t>
          </a:r>
          <a:r>
            <a:rPr lang="en-US" sz="1100" u="sng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partially owned</a:t>
          </a:r>
          <a:r>
            <a:rPr lang="en-US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 and managed by SLOVNAFT, </a:t>
          </a:r>
          <a:r>
            <a:rPr lang="en-US" sz="1100" kern="1200" dirty="0" err="1" smtClean="0">
              <a:solidFill>
                <a:schemeClr val="tx1">
                  <a:lumMod val="65000"/>
                  <a:lumOff val="35000"/>
                </a:schemeClr>
              </a:solidFill>
            </a:rPr>
            <a:t>a.s</a:t>
          </a:r>
          <a:r>
            <a:rPr lang="en-US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. </a:t>
          </a:r>
          <a:endParaRPr lang="en-US" sz="1100" kern="120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417876" y="571173"/>
        <a:ext cx="2923047" cy="1064585"/>
      </dsp:txXfrm>
    </dsp:sp>
    <dsp:sp modelId="{A11EDFF0-5D78-4429-9B74-BE29F1931233}">
      <dsp:nvSpPr>
        <dsp:cNvPr id="0" name=""/>
        <dsp:cNvSpPr/>
      </dsp:nvSpPr>
      <dsp:spPr>
        <a:xfrm rot="5537368">
          <a:off x="1338811" y="2990743"/>
          <a:ext cx="2228639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228639" y="0"/>
              </a:lnTo>
            </a:path>
          </a:pathLst>
        </a:cu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C07EBCB-F6A5-4A25-82D7-4A2E83A49D54}">
      <dsp:nvSpPr>
        <dsp:cNvPr id="0" name=""/>
        <dsp:cNvSpPr/>
      </dsp:nvSpPr>
      <dsp:spPr>
        <a:xfrm>
          <a:off x="910171" y="4104173"/>
          <a:ext cx="2961080" cy="895683"/>
        </a:xfrm>
        <a:prstGeom prst="roundRect">
          <a:avLst/>
        </a:prstGeom>
        <a:noFill/>
        <a:ln w="25400" cap="flat" cmpd="sng" algn="ctr">
          <a:solidFill>
            <a:schemeClr val="tx1">
              <a:lumMod val="50000"/>
              <a:lumOff val="50000"/>
            </a:schemeClr>
          </a:solidFill>
          <a:prstDash val="sysDash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en-US" sz="1600" kern="12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Slovnaft Group</a:t>
          </a:r>
          <a:endParaRPr lang="sk-SK" sz="1600" kern="1200" dirty="0" smtClean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Companies </a:t>
          </a:r>
          <a:r>
            <a:rPr lang="en-US" sz="1100" u="sng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fully owned </a:t>
          </a:r>
          <a:r>
            <a:rPr lang="en-US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and managed by SLOVNAFT, </a:t>
          </a:r>
          <a:r>
            <a:rPr lang="en-US" sz="1100" kern="1200" dirty="0" err="1" smtClean="0">
              <a:solidFill>
                <a:schemeClr val="tx1">
                  <a:lumMod val="65000"/>
                  <a:lumOff val="35000"/>
                </a:schemeClr>
              </a:solidFill>
            </a:rPr>
            <a:t>a.s</a:t>
          </a:r>
          <a:r>
            <a:rPr lang="en-US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. (Slovakia, Poland</a:t>
          </a:r>
          <a:r>
            <a:rPr lang="sk-SK" sz="11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)</a:t>
          </a:r>
          <a:endParaRPr lang="en-US" sz="11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953895" y="4147897"/>
        <a:ext cx="2873632" cy="80823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5BBC3FD-E49C-4B42-AFC3-0226ED97B4DF}">
      <dsp:nvSpPr>
        <dsp:cNvPr id="0" name=""/>
        <dsp:cNvSpPr/>
      </dsp:nvSpPr>
      <dsp:spPr>
        <a:xfrm>
          <a:off x="2783981" y="630553"/>
          <a:ext cx="2136893" cy="1424595"/>
        </a:xfrm>
        <a:prstGeom prst="roundRect">
          <a:avLst>
            <a:gd name="adj" fmla="val 10000"/>
          </a:avLst>
        </a:prstGeom>
        <a:noFill/>
        <a:ln>
          <a:solidFill>
            <a:schemeClr val="bg1">
              <a:lumMod val="50000"/>
            </a:schemeClr>
          </a:solidFill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Country Treasury Manager</a:t>
          </a:r>
          <a:endParaRPr lang="en-US" sz="2000" kern="120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825706" y="672278"/>
        <a:ext cx="2053443" cy="1341145"/>
      </dsp:txXfrm>
    </dsp:sp>
    <dsp:sp modelId="{2EA0B9A6-6A9D-48F4-B4C3-8CC291DD3295}">
      <dsp:nvSpPr>
        <dsp:cNvPr id="0" name=""/>
        <dsp:cNvSpPr/>
      </dsp:nvSpPr>
      <dsp:spPr>
        <a:xfrm>
          <a:off x="1074466" y="2055149"/>
          <a:ext cx="2777961" cy="569838"/>
        </a:xfrm>
        <a:custGeom>
          <a:avLst/>
          <a:gdLst/>
          <a:ahLst/>
          <a:cxnLst/>
          <a:rect l="0" t="0" r="0" b="0"/>
          <a:pathLst>
            <a:path>
              <a:moveTo>
                <a:pt x="2777961" y="0"/>
              </a:moveTo>
              <a:lnTo>
                <a:pt x="2777961" y="284919"/>
              </a:lnTo>
              <a:lnTo>
                <a:pt x="0" y="284919"/>
              </a:lnTo>
              <a:lnTo>
                <a:pt x="0" y="569838"/>
              </a:lnTo>
            </a:path>
          </a:pathLst>
        </a:custGeom>
        <a:noFill/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84E2F5-DFBA-45CA-A707-361475EF9A1B}">
      <dsp:nvSpPr>
        <dsp:cNvPr id="0" name=""/>
        <dsp:cNvSpPr/>
      </dsp:nvSpPr>
      <dsp:spPr>
        <a:xfrm>
          <a:off x="6019" y="2624987"/>
          <a:ext cx="2136893" cy="1424595"/>
        </a:xfrm>
        <a:prstGeom prst="roundRect">
          <a:avLst>
            <a:gd name="adj" fmla="val 10000"/>
          </a:avLst>
        </a:prstGeom>
        <a:noFill/>
        <a:ln>
          <a:solidFill>
            <a:schemeClr val="bg1">
              <a:lumMod val="50000"/>
            </a:schemeClr>
          </a:solidFill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Front Office</a:t>
          </a:r>
          <a:endParaRPr lang="en-US" sz="2000" kern="120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7744" y="2666712"/>
        <a:ext cx="2053443" cy="1341145"/>
      </dsp:txXfrm>
    </dsp:sp>
    <dsp:sp modelId="{180F014E-E4CC-42B5-94CF-8AC80EAB68CA}">
      <dsp:nvSpPr>
        <dsp:cNvPr id="0" name=""/>
        <dsp:cNvSpPr/>
      </dsp:nvSpPr>
      <dsp:spPr>
        <a:xfrm>
          <a:off x="3806708" y="2055149"/>
          <a:ext cx="91440" cy="56983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69838"/>
              </a:lnTo>
            </a:path>
          </a:pathLst>
        </a:custGeom>
        <a:noFill/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CC094C0-4127-4946-83C7-9CD54D86953E}">
      <dsp:nvSpPr>
        <dsp:cNvPr id="0" name=""/>
        <dsp:cNvSpPr/>
      </dsp:nvSpPr>
      <dsp:spPr>
        <a:xfrm>
          <a:off x="2783981" y="2624987"/>
          <a:ext cx="2136893" cy="1424595"/>
        </a:xfrm>
        <a:prstGeom prst="roundRect">
          <a:avLst>
            <a:gd name="adj" fmla="val 10000"/>
          </a:avLst>
        </a:prstGeom>
        <a:noFill/>
        <a:ln>
          <a:solidFill>
            <a:schemeClr val="bg1">
              <a:lumMod val="50000"/>
            </a:schemeClr>
          </a:solidFill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Back Office</a:t>
          </a:r>
          <a:endParaRPr lang="en-US" sz="2000" kern="120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825706" y="2666712"/>
        <a:ext cx="2053443" cy="1341145"/>
      </dsp:txXfrm>
    </dsp:sp>
    <dsp:sp modelId="{3AFC25BE-1470-4B69-B230-C45C5221D4D9}">
      <dsp:nvSpPr>
        <dsp:cNvPr id="0" name=""/>
        <dsp:cNvSpPr/>
      </dsp:nvSpPr>
      <dsp:spPr>
        <a:xfrm>
          <a:off x="3852427" y="2055149"/>
          <a:ext cx="2777961" cy="5698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4919"/>
              </a:lnTo>
              <a:lnTo>
                <a:pt x="2777961" y="284919"/>
              </a:lnTo>
              <a:lnTo>
                <a:pt x="2777961" y="569838"/>
              </a:lnTo>
            </a:path>
          </a:pathLst>
        </a:custGeom>
        <a:noFill/>
        <a:ln w="254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A78ADB9-A07A-4001-B2C1-57FD33E0DF58}">
      <dsp:nvSpPr>
        <dsp:cNvPr id="0" name=""/>
        <dsp:cNvSpPr/>
      </dsp:nvSpPr>
      <dsp:spPr>
        <a:xfrm>
          <a:off x="5561942" y="2624987"/>
          <a:ext cx="2136893" cy="1424595"/>
        </a:xfrm>
        <a:prstGeom prst="roundRect">
          <a:avLst>
            <a:gd name="adj" fmla="val 10000"/>
          </a:avLst>
        </a:prstGeom>
        <a:noFill/>
        <a:ln>
          <a:solidFill>
            <a:schemeClr val="bg1">
              <a:lumMod val="50000"/>
            </a:schemeClr>
          </a:solidFill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Risk Management</a:t>
          </a:r>
          <a:endParaRPr lang="en-US" sz="2000" kern="120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603667" y="2666712"/>
        <a:ext cx="2053443" cy="13411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sk-SK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63A0FB0-8AFA-4304-8AFA-CAB496CE91CE}" type="datetimeFigureOut">
              <a:rPr lang="en-US" smtClean="0"/>
              <a:t>1/20/2015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235700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FD02B7F9-BBA4-4E17-9C6F-7C3618B449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031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63A0FB0-8AFA-4304-8AFA-CAB496CE91CE}" type="datetimeFigureOut">
              <a:rPr lang="en-US" smtClean="0"/>
              <a:t>1/20/2015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D02B7F9-BBA4-4E17-9C6F-7C3618B449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203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63A0FB0-8AFA-4304-8AFA-CAB496CE91CE}" type="datetimeFigureOut">
              <a:rPr lang="en-US" smtClean="0"/>
              <a:t>1/20/2015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D02B7F9-BBA4-4E17-9C6F-7C3618B449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3555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63A0FB0-8AFA-4304-8AFA-CAB496CE91CE}" type="datetimeFigureOut">
              <a:rPr lang="en-US" smtClean="0"/>
              <a:t>1/20/2015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D02B7F9-BBA4-4E17-9C6F-7C3618B449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1974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63A0FB0-8AFA-4304-8AFA-CAB496CE91CE}" type="datetimeFigureOut">
              <a:rPr lang="en-US" smtClean="0"/>
              <a:t>1/20/2015</a:t>
            </a:fld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D02B7F9-BBA4-4E17-9C6F-7C3618B449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98938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63A0FB0-8AFA-4304-8AFA-CAB496CE91CE}" type="datetimeFigureOut">
              <a:rPr lang="en-US" smtClean="0"/>
              <a:t>1/20/2015</a:t>
            </a:fld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D02B7F9-BBA4-4E17-9C6F-7C3618B449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82558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sk-SK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63A0FB0-8AFA-4304-8AFA-CAB496CE91CE}" type="datetimeFigureOut">
              <a:rPr lang="en-US" smtClean="0"/>
              <a:t>1/20/2015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D02B7F9-BBA4-4E17-9C6F-7C3618B449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943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63A0FB0-8AFA-4304-8AFA-CAB496CE91CE}" type="datetimeFigureOut">
              <a:rPr lang="en-US" smtClean="0"/>
              <a:t>1/20/2015</a:t>
            </a:fld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D02B7F9-BBA4-4E17-9C6F-7C3618B449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6961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ázd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63A0FB0-8AFA-4304-8AFA-CAB496CE91CE}" type="datetimeFigureOut">
              <a:rPr lang="en-US" smtClean="0"/>
              <a:t>1/20/2015</a:t>
            </a:fld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143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5839F-3828-46FB-AEFF-9E0860CD04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902030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5839F-3828-46FB-AEFF-9E0860CD04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69577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63A0FB0-8AFA-4304-8AFA-CAB496CE91CE}" type="datetimeFigureOut">
              <a:rPr lang="en-US" smtClean="0"/>
              <a:t>1/20/2015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D02B7F9-BBA4-4E17-9C6F-7C3618B449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416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5839F-3828-46FB-AEFF-9E0860CD04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44508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5839F-3828-46FB-AEFF-9E0860CD04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30386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5839F-3828-46FB-AEFF-9E0860CD04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06421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5839F-3828-46FB-AEFF-9E0860CD04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22499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5839F-3828-46FB-AEFF-9E0860CD04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52118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5839F-3828-46FB-AEFF-9E0860CD04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92854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5839F-3828-46FB-AEFF-9E0860CD04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92811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5839F-3828-46FB-AEFF-9E0860CD04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12198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5839F-3828-46FB-AEFF-9E0860CD04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16561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719100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63A0FB0-8AFA-4304-8AFA-CAB496CE91CE}" type="datetimeFigureOut">
              <a:rPr lang="en-US" smtClean="0"/>
              <a:t>1/20/2015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D02B7F9-BBA4-4E17-9C6F-7C3618B449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565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sk-SK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235700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CB1A43-E842-41B3-9DB2-81E437A3DD05}" type="slidenum">
              <a:rPr lang="hu-H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0173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D8FB64-8F46-4328-9828-538EAAB614C5}" type="slidenum">
              <a:rPr lang="hu-H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8081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C090CB-DB45-48CC-8970-74D50F7BD8F0}" type="slidenum">
              <a:rPr lang="hu-H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5083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72345B-4450-40AE-8FD4-C3B5301C7F99}" type="slidenum">
              <a:rPr lang="hu-H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85567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3230EB-A188-401B-AA45-B43EC0597C6C}" type="slidenum">
              <a:rPr lang="hu-H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98879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4028D7-ED53-4963-BFF8-EFC3A5BF8FC4}" type="slidenum">
              <a:rPr lang="hu-H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93516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381750"/>
            <a:ext cx="2133600" cy="476250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>
              <a:defRPr/>
            </a:pPr>
            <a:fld id="{BA8C4FB9-A212-4A1A-BC99-89862713032F}" type="slidenum">
              <a:rPr lang="hu-HU">
                <a:solidFill>
                  <a:prstClr val="black">
                    <a:lumMod val="95000"/>
                    <a:lumOff val="5000"/>
                  </a:prstClr>
                </a:solidFill>
              </a:rPr>
              <a:pPr>
                <a:defRPr/>
              </a:pPr>
              <a:t>‹#›</a:t>
            </a:fld>
            <a:endParaRPr lang="hu-HU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7791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F238E-E0AD-427C-979B-C44A0DAB03E3}" type="slidenum">
              <a:rPr lang="hu-H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066236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sk-SK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804911-99AD-4E7C-BE49-4C345FB00174}" type="slidenum">
              <a:rPr lang="hu-H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18610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F60114-E940-4187-A7DD-EFBCDC805758}" type="slidenum">
              <a:rPr lang="hu-H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08568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63A0FB0-8AFA-4304-8AFA-CAB496CE91CE}" type="datetimeFigureOut">
              <a:rPr lang="en-US" smtClean="0"/>
              <a:t>1/20/2015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D02B7F9-BBA4-4E17-9C6F-7C3618B449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317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8D8104-3C98-4C0D-A442-92A75CE86A18}" type="slidenum">
              <a:rPr lang="hu-H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64231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855374-35C1-41AA-BC2F-181E307BCE3C}" type="slidenum">
              <a:rPr lang="hu-H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3608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8664A0-6255-4EC1-906D-80D0E2B623DA}" type="slidenum">
              <a:rPr lang="hu-H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76560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EEF04C-5B3C-4FE6-B91E-120E0B8B2CF3}" type="slidenum">
              <a:rPr lang="hu-H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20139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sk-SK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99C0DA-4BBB-485A-99C0-9D284D8E6A1F}" type="slidenum">
              <a:rPr lang="hu-H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081740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9777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Sub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12757CA-4B9D-48E8-843B-B199545DB89E}" type="datetime1">
              <a:rPr lang="nl-NL" altLang="en-US"/>
              <a:pPr/>
              <a:t>20-1-2015</a:t>
            </a:fld>
            <a:endParaRPr lang="nl-NL" alt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E6B3DF5-289E-42F8-BDE3-4285903C3D90}" type="slidenum">
              <a:rPr lang="nl-NL" altLang="en-US"/>
              <a:pPr/>
              <a:t>‹#›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296449242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2853F1F-BD06-49BC-91B8-5E33681D7840}" type="datetime1">
              <a:rPr lang="nl-NL" altLang="en-US"/>
              <a:pPr/>
              <a:t>20-1-2015</a:t>
            </a:fld>
            <a:endParaRPr lang="nl-NL" alt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39EC7BB-003B-4F00-80A2-B74E675950BB}" type="slidenum">
              <a:rPr lang="nl-NL" altLang="en-US"/>
              <a:pPr/>
              <a:t>‹#›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41708142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F00C2CE-F371-4D1B-B672-AB774FE05143}" type="datetime1">
              <a:rPr lang="nl-NL" altLang="en-US"/>
              <a:pPr/>
              <a:t>20-1-2015</a:t>
            </a:fld>
            <a:endParaRPr lang="nl-NL" alt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07027B0-08A2-4F88-91B4-5ABFD8D69704}" type="slidenum">
              <a:rPr lang="nl-NL" altLang="en-US"/>
              <a:pPr/>
              <a:t>‹#›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312605380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26DE895-B3B4-4FF3-9830-CF9ABAB3552D}" type="datetime1">
              <a:rPr lang="nl-NL" altLang="en-US"/>
              <a:pPr/>
              <a:t>20-1-2015</a:t>
            </a:fld>
            <a:endParaRPr lang="nl-NL" altLang="en-US"/>
          </a:p>
        </p:txBody>
      </p:sp>
      <p:sp>
        <p:nvSpPr>
          <p:cNvPr id="6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37D2274-2B4C-4069-80DC-73F33F8A6C03}" type="slidenum">
              <a:rPr lang="nl-NL" altLang="en-US"/>
              <a:pPr/>
              <a:t>‹#›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18778626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63A0FB0-8AFA-4304-8AFA-CAB496CE91CE}" type="datetimeFigureOut">
              <a:rPr lang="en-US" smtClean="0"/>
              <a:t>1/20/2015</a:t>
            </a:fld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D02B7F9-BBA4-4E17-9C6F-7C3618B449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106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7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A8F0F42-C14B-4A46-AA28-1250AD490F1F}" type="datetime1">
              <a:rPr lang="nl-NL" altLang="en-US"/>
              <a:pPr/>
              <a:t>20-1-2015</a:t>
            </a:fld>
            <a:endParaRPr lang="nl-NL" altLang="en-US"/>
          </a:p>
        </p:txBody>
      </p:sp>
      <p:sp>
        <p:nvSpPr>
          <p:cNvPr id="8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DAA8DA4-67BA-4C20-9955-B37DB079DAB6}" type="slidenum">
              <a:rPr lang="nl-NL" altLang="en-US"/>
              <a:pPr/>
              <a:t>‹#›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247147412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C1E9F37-F276-4DE7-BC86-5A29C764FAAC}" type="datetime1">
              <a:rPr lang="nl-NL" altLang="en-US"/>
              <a:pPr/>
              <a:t>20-1-2015</a:t>
            </a:fld>
            <a:endParaRPr lang="nl-NL" altLang="en-US"/>
          </a:p>
        </p:txBody>
      </p:sp>
      <p:sp>
        <p:nvSpPr>
          <p:cNvPr id="4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0295620-95CB-4AF7-AEE5-70CE6C3752D1}" type="slidenum">
              <a:rPr lang="nl-NL" altLang="en-US"/>
              <a:pPr/>
              <a:t>‹#›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27391106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49A1509-7C1C-415B-8D63-6A56F973728C}" type="datetime1">
              <a:rPr lang="nl-NL" altLang="en-US"/>
              <a:pPr/>
              <a:t>20-1-2015</a:t>
            </a:fld>
            <a:endParaRPr lang="nl-NL" altLang="en-US"/>
          </a:p>
        </p:txBody>
      </p:sp>
      <p:sp>
        <p:nvSpPr>
          <p:cNvPr id="3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EF500CB-DAF0-4199-B1A2-ACE44B1FD24C}" type="slidenum">
              <a:rPr lang="nl-NL" altLang="en-US"/>
              <a:pPr/>
              <a:t>‹#›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40222012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4FE32F1-D59A-4FBB-BFEB-FEF1A3540E9A}" type="datetime1">
              <a:rPr lang="nl-NL" altLang="en-US"/>
              <a:pPr/>
              <a:t>20-1-2015</a:t>
            </a:fld>
            <a:endParaRPr lang="nl-NL" altLang="en-US"/>
          </a:p>
        </p:txBody>
      </p:sp>
      <p:sp>
        <p:nvSpPr>
          <p:cNvPr id="6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2A1CF7E-12A2-442E-8761-32E116CE708C}" type="slidenum">
              <a:rPr lang="nl-NL" altLang="en-US"/>
              <a:pPr/>
              <a:t>‹#›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248466957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nl-NL" noProof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19EA8F8-9054-498B-9044-9BF173597859}" type="datetime1">
              <a:rPr lang="nl-NL" altLang="en-US"/>
              <a:pPr/>
              <a:t>20-1-2015</a:t>
            </a:fld>
            <a:endParaRPr lang="nl-NL" altLang="en-US"/>
          </a:p>
        </p:txBody>
      </p:sp>
      <p:sp>
        <p:nvSpPr>
          <p:cNvPr id="6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5FB099B-1605-4177-93BB-B49CA2CA5BB7}" type="slidenum">
              <a:rPr lang="nl-NL" altLang="en-US"/>
              <a:pPr/>
              <a:t>‹#›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271459201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AC8E5EE-34C8-43CD-B028-9B184C8D6F62}" type="datetime1">
              <a:rPr lang="nl-NL" altLang="en-US"/>
              <a:pPr/>
              <a:t>20-1-2015</a:t>
            </a:fld>
            <a:endParaRPr lang="nl-NL" alt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A4161D1-6752-4A00-93E9-8B60F0DF6FB6}" type="slidenum">
              <a:rPr lang="nl-NL" altLang="en-US"/>
              <a:pPr/>
              <a:t>‹#›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34646073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BEE6F80-DD2B-47B8-ABE4-AAC03CF96E90}" type="datetime1">
              <a:rPr lang="nl-NL" altLang="en-US"/>
              <a:pPr/>
              <a:t>20-1-2015</a:t>
            </a:fld>
            <a:endParaRPr lang="nl-NL" alt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FB3B6A-E0F4-4D09-848B-4633F66B5496}" type="slidenum">
              <a:rPr lang="nl-NL" altLang="en-US"/>
              <a:pPr/>
              <a:t>‹#›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160372952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58640-5481-4C64-84CD-5B9A844ADAA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/20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872444-7937-4E7B-A4CA-239A3991757C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87165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58640-5481-4C64-84CD-5B9A844ADAA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/20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872444-7937-4E7B-A4CA-239A3991757C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428214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58640-5481-4C64-84CD-5B9A844ADAA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/20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872444-7937-4E7B-A4CA-239A3991757C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5516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63A0FB0-8AFA-4304-8AFA-CAB496CE91CE}" type="datetimeFigureOut">
              <a:rPr lang="en-US" smtClean="0"/>
              <a:t>1/20/2015</a:t>
            </a:fld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D02B7F9-BBA4-4E17-9C6F-7C3618B449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994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58640-5481-4C64-84CD-5B9A844ADAA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/20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872444-7937-4E7B-A4CA-239A3991757C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771957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58640-5481-4C64-84CD-5B9A844ADAA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/20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872444-7937-4E7B-A4CA-239A3991757C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08184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58640-5481-4C64-84CD-5B9A844ADAA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/20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872444-7937-4E7B-A4CA-239A3991757C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73939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58640-5481-4C64-84CD-5B9A844ADAA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/20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872444-7937-4E7B-A4CA-239A3991757C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691530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58640-5481-4C64-84CD-5B9A844ADAA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/20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872444-7937-4E7B-A4CA-239A3991757C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8475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58640-5481-4C64-84CD-5B9A844ADAA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/20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872444-7937-4E7B-A4CA-239A3991757C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090880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58640-5481-4C64-84CD-5B9A844ADAA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/20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872444-7937-4E7B-A4CA-239A3991757C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732232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58640-5481-4C64-84CD-5B9A844ADAA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/20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872444-7937-4E7B-A4CA-239A3991757C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63981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5839F-3828-46FB-AEFF-9E0860CD04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779053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5839F-3828-46FB-AEFF-9E0860CD04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83300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63A0FB0-8AFA-4304-8AFA-CAB496CE91CE}" type="datetimeFigureOut">
              <a:rPr lang="en-US" smtClean="0"/>
              <a:t>1/20/2015</a:t>
            </a:fld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381750"/>
            <a:ext cx="2133600" cy="476250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FD02B7F9-BBA4-4E17-9C6F-7C3618B449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82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5839F-3828-46FB-AEFF-9E0860CD04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62939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5839F-3828-46FB-AEFF-9E0860CD04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778265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5839F-3828-46FB-AEFF-9E0860CD04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512595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5839F-3828-46FB-AEFF-9E0860CD04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487978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5839F-3828-46FB-AEFF-9E0860CD04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256224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5839F-3828-46FB-AEFF-9E0860CD04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361939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5839F-3828-46FB-AEFF-9E0860CD04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205105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5839F-3828-46FB-AEFF-9E0860CD04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277981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C5839F-3828-46FB-AEFF-9E0860CD04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96116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58640-5481-4C64-84CD-5B9A844ADAA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/20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872444-7937-4E7B-A4CA-239A3991757C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3730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63A0FB0-8AFA-4304-8AFA-CAB496CE91CE}" type="datetimeFigureOut">
              <a:rPr lang="en-US" smtClean="0"/>
              <a:t>1/20/2015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D02B7F9-BBA4-4E17-9C6F-7C3618B449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2142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58640-5481-4C64-84CD-5B9A844ADAA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/20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872444-7937-4E7B-A4CA-239A3991757C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268891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58640-5481-4C64-84CD-5B9A844ADAA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/20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872444-7937-4E7B-A4CA-239A3991757C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984777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58640-5481-4C64-84CD-5B9A844ADAA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/20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872444-7937-4E7B-A4CA-239A3991757C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84537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58640-5481-4C64-84CD-5B9A844ADAA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/20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872444-7937-4E7B-A4CA-239A3991757C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56946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58640-5481-4C64-84CD-5B9A844ADAA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/20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872444-7937-4E7B-A4CA-239A3991757C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877974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58640-5481-4C64-84CD-5B9A844ADAA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/20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872444-7937-4E7B-A4CA-239A3991757C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047479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58640-5481-4C64-84CD-5B9A844ADAA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/20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872444-7937-4E7B-A4CA-239A3991757C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160568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58640-5481-4C64-84CD-5B9A844ADAA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/20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872444-7937-4E7B-A4CA-239A3991757C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17397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58640-5481-4C64-84CD-5B9A844ADAA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/20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872444-7937-4E7B-A4CA-239A3991757C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91784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558640-5481-4C64-84CD-5B9A844ADAA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/20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872444-7937-4E7B-A4CA-239A3991757C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85067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sk-SK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63A0FB0-8AFA-4304-8AFA-CAB496CE91CE}" type="datetimeFigureOut">
              <a:rPr lang="en-US" smtClean="0"/>
              <a:t>1/20/2015</a:t>
            </a:fld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D02B7F9-BBA4-4E17-9C6F-7C3618B449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1348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vmlDrawing" Target="../drawings/vmlDrawing2.vml"/><Relationship Id="rId3" Type="http://schemas.openxmlformats.org/officeDocument/2006/relationships/slideLayout" Target="../slideLayouts/slideLayout32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21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50837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68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hu-HU" smtClean="0"/>
              <a:t>Mintacím szerkesztése</a:t>
            </a:r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</a:p>
        </p:txBody>
      </p:sp>
      <p:sp>
        <p:nvSpPr>
          <p:cNvPr id="5325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buFontTx/>
              <a:buNone/>
              <a:defRPr sz="1400">
                <a:latin typeface="Arial" charset="0"/>
              </a:defRPr>
            </a:lvl1pPr>
          </a:lstStyle>
          <a:p>
            <a:fld id="{663A0FB0-8AFA-4304-8AFA-CAB496CE91CE}" type="datetimeFigureOut">
              <a:rPr lang="en-US" smtClean="0"/>
              <a:t>1/20/2015</a:t>
            </a:fld>
            <a:endParaRPr lang="en-US"/>
          </a:p>
        </p:txBody>
      </p:sp>
      <p:sp>
        <p:nvSpPr>
          <p:cNvPr id="5325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buFontTx/>
              <a:buNone/>
              <a:defRPr sz="1400"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5325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10400" y="5805264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buFontTx/>
              <a:buNone/>
              <a:defRPr sz="1400">
                <a:latin typeface="Arial" charset="0"/>
              </a:defRPr>
            </a:lvl1pPr>
          </a:lstStyle>
          <a:p>
            <a:fld id="{FD02B7F9-BBA4-4E17-9C6F-7C3618B449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919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iming>
    <p:tnLst>
      <p:par>
        <p:cTn id="1" dur="indefinite" restart="never" nodeType="tmRoot"/>
      </p:par>
    </p:tnLst>
  </p:timing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000" y="36000"/>
            <a:ext cx="8229600" cy="77809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76256" y="634871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5A8125E-8FC7-4D5E-9EB4-5050E2DF8AB4}" type="slidenum">
              <a:rPr lang="hu-HU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hu-HU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107950" y="620839"/>
            <a:ext cx="8795838" cy="0"/>
          </a:xfrm>
          <a:prstGeom prst="line">
            <a:avLst/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07" y="6288696"/>
            <a:ext cx="415647" cy="563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2874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20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6558306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hu-HU" smtClean="0"/>
              <a:t>Mintacím szerkesztése</a:t>
            </a:r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</a:p>
        </p:txBody>
      </p:sp>
      <p:sp>
        <p:nvSpPr>
          <p:cNvPr id="5325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buFontTx/>
              <a:buNone/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5325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buFontTx/>
              <a:buNone/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5325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10400" y="618807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buFontTx/>
              <a:buNone/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6F1014E-F08D-4B52-A92C-46842F6C846C}" type="slidenum">
              <a:rPr lang="hu-HU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2288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jdelijke aanduiding voor titel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k-SK" altLang="en-US" smtClean="0"/>
              <a:t>Titelstijl van model bewerken</a:t>
            </a:r>
            <a:endParaRPr lang="nl-NL" altLang="en-US" smtClean="0"/>
          </a:p>
        </p:txBody>
      </p:sp>
      <p:sp>
        <p:nvSpPr>
          <p:cNvPr id="1027" name="Tijdelijke aanduiding voor tekst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k-SK" altLang="en-US" smtClean="0"/>
              <a:t>Klik om de tekststijl van het model te bewerken</a:t>
            </a:r>
          </a:p>
          <a:p>
            <a:pPr lvl="1"/>
            <a:r>
              <a:rPr lang="sk-SK" altLang="en-US" smtClean="0"/>
              <a:t>Tweede niveau</a:t>
            </a:r>
          </a:p>
          <a:p>
            <a:pPr lvl="2"/>
            <a:r>
              <a:rPr lang="sk-SK" altLang="en-US" smtClean="0"/>
              <a:t>Derde niveau</a:t>
            </a:r>
          </a:p>
          <a:p>
            <a:pPr lvl="3"/>
            <a:r>
              <a:rPr lang="sk-SK" altLang="en-US" smtClean="0"/>
              <a:t>Vierde niveau</a:t>
            </a:r>
          </a:p>
          <a:p>
            <a:pPr lvl="4"/>
            <a:r>
              <a:rPr lang="sk-SK" altLang="en-US" smtClean="0"/>
              <a:t>Vijfde niveau</a:t>
            </a:r>
            <a:endParaRPr lang="nl-NL" altLang="en-US" smtClean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701089D-66AA-476F-B25D-4142EB71E3B7}" type="datetime1">
              <a:rPr lang="nl-NL" altLang="en-US" smtClean="0">
                <a:ea typeface="ＭＳ Ｐゴシック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20-1-2015</a:t>
            </a:fld>
            <a:endParaRPr lang="nl-NL" altLang="en-US" smtClean="0">
              <a:ea typeface="ＭＳ Ｐゴシック" charset="-128"/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761D7B4-F023-4D38-9D17-75F4C303DAD7}" type="slidenum">
              <a:rPr lang="nl-NL" altLang="en-US" smtClean="0">
                <a:ea typeface="ＭＳ Ｐゴシック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l-NL" altLang="en-US" smtClean="0"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75900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-128"/>
          <a:cs typeface="ＭＳ Ｐゴシック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558640-5481-4C64-84CD-5B9A844ADAA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0/2015</a:t>
            </a:fld>
            <a:endParaRPr lang="en-US" smtClean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smtClean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872444-7937-4E7B-A4CA-239A3991757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smtClean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9917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3A0FB0-8AFA-4304-8AFA-CAB496CE91CE}" type="datetimeFigureOut">
              <a:rPr lang="en-US" smtClean="0"/>
              <a:t>1/20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02B7F9-BBA4-4E17-9C6F-7C3618B449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9448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DE558640-5481-4C64-84CD-5B9A844ADAA9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/20/2015</a:t>
            </a:fld>
            <a:endParaRPr lang="en-US" smtClean="0">
              <a:solidFill>
                <a:prstClr val="black">
                  <a:tint val="75000"/>
                </a:prstClr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mtClean="0">
              <a:solidFill>
                <a:prstClr val="black">
                  <a:tint val="75000"/>
                </a:prstClr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9872444-7937-4E7B-A4CA-239A3991757C}" type="slidenum">
              <a:rPr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mtClean="0">
              <a:solidFill>
                <a:prstClr val="black">
                  <a:tint val="75000"/>
                </a:prstClr>
              </a:solidFill>
              <a:latin typeface="Arial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62493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4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6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7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476672"/>
            <a:ext cx="6516216" cy="11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6320" y="671478"/>
            <a:ext cx="6214155" cy="635000"/>
          </a:xfrm>
        </p:spPr>
        <p:txBody>
          <a:bodyPr>
            <a:normAutofit fontScale="90000"/>
          </a:bodyPr>
          <a:lstStyle/>
          <a:p>
            <a:pPr algn="l" eaLnBrk="1" hangingPunct="1"/>
            <a:r>
              <a:rPr lang="en-US" altLang="sk-SK" sz="4000" b="1" dirty="0" smtClean="0">
                <a:solidFill>
                  <a:srgbClr val="404040"/>
                </a:solidFill>
                <a:latin typeface="Arial" charset="0"/>
                <a:cs typeface="Arial" charset="0"/>
              </a:rPr>
              <a:t>Treasury in Slovnaft</a:t>
            </a:r>
            <a:endParaRPr lang="nl-NL" altLang="sk-SK" sz="4000" b="1" dirty="0" smtClean="0">
              <a:solidFill>
                <a:srgbClr val="40404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2756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252000" y="360000"/>
            <a:ext cx="6553200" cy="63500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3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Liaising with Group Treasury</a:t>
            </a:r>
            <a:endParaRPr lang="nl-NL" sz="2300" b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8" name="Subtitel 2"/>
          <p:cNvSpPr txBox="1">
            <a:spLocks/>
          </p:cNvSpPr>
          <p:nvPr/>
        </p:nvSpPr>
        <p:spPr>
          <a:xfrm>
            <a:off x="360000" y="1988840"/>
            <a:ext cx="7999412" cy="4392488"/>
          </a:xfrm>
          <a:prstGeom prst="rect">
            <a:avLst/>
          </a:prstGeom>
        </p:spPr>
        <p:txBody>
          <a:bodyPr>
            <a:norm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342900" indent="-342900" eaLnBrk="1" hangingPunct="1">
              <a:lnSpc>
                <a:spcPct val="120000"/>
              </a:lnSpc>
              <a:spcBef>
                <a:spcPct val="20000"/>
              </a:spcBef>
              <a:spcAft>
                <a:spcPts val="1200"/>
              </a:spcAft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Implementation of Group strategy throughout Slovnaft Group/Flagship</a:t>
            </a:r>
          </a:p>
          <a:p>
            <a:pPr marL="342900" indent="-342900" eaLnBrk="1" hangingPunct="1">
              <a:lnSpc>
                <a:spcPct val="120000"/>
              </a:lnSpc>
              <a:spcBef>
                <a:spcPct val="20000"/>
              </a:spcBef>
              <a:spcAft>
                <a:spcPts val="1200"/>
              </a:spcAft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Prioritization of objectives to maximize key shareholder’s value</a:t>
            </a:r>
          </a:p>
          <a:p>
            <a:pPr marL="342900" indent="-342900" eaLnBrk="1" hangingPunct="1">
              <a:lnSpc>
                <a:spcPct val="120000"/>
              </a:lnSpc>
              <a:spcBef>
                <a:spcPct val="20000"/>
              </a:spcBef>
              <a:spcAft>
                <a:spcPts val="1200"/>
              </a:spcAft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Monitoring and optimization of cash flows within Slovnaft Group/Flagship</a:t>
            </a:r>
          </a:p>
          <a:p>
            <a:pPr marL="342900" indent="-342900" eaLnBrk="1" hangingPunct="1">
              <a:lnSpc>
                <a:spcPct val="120000"/>
              </a:lnSpc>
              <a:spcBef>
                <a:spcPct val="20000"/>
              </a:spcBef>
              <a:spcAft>
                <a:spcPts val="1200"/>
              </a:spcAft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Initiation of value-adding projects within Slovnaft Group/Flagship</a:t>
            </a:r>
          </a:p>
          <a:p>
            <a:pPr marL="342900" indent="-342900" eaLnBrk="1" hangingPunct="1">
              <a:lnSpc>
                <a:spcPct val="120000"/>
              </a:lnSpc>
              <a:spcBef>
                <a:spcPct val="20000"/>
              </a:spcBef>
              <a:spcAft>
                <a:spcPts val="1200"/>
              </a:spcAft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Promotion of synergies though unification/centralization of Treasury activities within Slovnaft Group/Flagship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78532" y="1268760"/>
            <a:ext cx="8282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sk-SK" sz="2000" u="sng" dirty="0">
                <a:solidFill>
                  <a:srgbClr val="595959"/>
                </a:solidFill>
                <a:cs typeface="Arial" charset="0"/>
              </a:rPr>
              <a:t>In relation to MOL Group Treasury, Slovnaft Treasury is responsible for</a:t>
            </a:r>
            <a:r>
              <a:rPr lang="en-US" altLang="sk-SK" sz="2000" u="sng" dirty="0" smtClean="0">
                <a:solidFill>
                  <a:srgbClr val="595959"/>
                </a:solidFill>
                <a:cs typeface="Arial" charset="0"/>
              </a:rPr>
              <a:t>:</a:t>
            </a:r>
            <a:endParaRPr lang="en-US" altLang="sk-SK" sz="2000" u="sng" dirty="0">
              <a:solidFill>
                <a:srgbClr val="595959"/>
              </a:solidFill>
              <a:cs typeface="Arial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107504" y="1052736"/>
            <a:ext cx="8424456" cy="0"/>
          </a:xfrm>
          <a:prstGeom prst="line">
            <a:avLst/>
          </a:prstGeom>
          <a:ln>
            <a:solidFill>
              <a:srgbClr val="FFC000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5769" y="6065610"/>
            <a:ext cx="552381" cy="723810"/>
          </a:xfrm>
          <a:prstGeom prst="rect">
            <a:avLst/>
          </a:prstGeom>
        </p:spPr>
      </p:pic>
      <p:sp>
        <p:nvSpPr>
          <p:cNvPr id="7" name="Slide Number Placeholder 1"/>
          <p:cNvSpPr txBox="1">
            <a:spLocks/>
          </p:cNvSpPr>
          <p:nvPr/>
        </p:nvSpPr>
        <p:spPr>
          <a:xfrm>
            <a:off x="6948264" y="6348714"/>
            <a:ext cx="21336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7C5839F-3828-46FB-AEFF-9E0860CD0405}" type="slidenum">
              <a:rPr lang="en-GB" sz="12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r"/>
              <a:t>10</a:t>
            </a:fld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8273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252000" y="360000"/>
            <a:ext cx="6057446" cy="635000"/>
          </a:xfrm>
          <a:prstGeom prst="rect">
            <a:avLst/>
          </a:prstGeom>
        </p:spPr>
        <p:txBody>
          <a:bodyPr anchor="ctr">
            <a:normAutofit fontScale="975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3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Centralization of Activities</a:t>
            </a:r>
            <a:endParaRPr lang="nl-NL" sz="2300" b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8" name="Subtitel 2"/>
          <p:cNvSpPr txBox="1">
            <a:spLocks/>
          </p:cNvSpPr>
          <p:nvPr/>
        </p:nvSpPr>
        <p:spPr>
          <a:xfrm>
            <a:off x="360000" y="1628800"/>
            <a:ext cx="7717472" cy="4680520"/>
          </a:xfrm>
          <a:prstGeom prst="rect">
            <a:avLst/>
          </a:prstGeom>
        </p:spPr>
        <p:txBody>
          <a:bodyPr>
            <a:norm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342900" indent="-342900" eaLnBrk="1" hangingPunct="1">
              <a:lnSpc>
                <a:spcPct val="140000"/>
              </a:lnSpc>
              <a:spcBef>
                <a:spcPct val="20000"/>
              </a:spcBef>
              <a:spcAft>
                <a:spcPts val="1200"/>
              </a:spcAft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Partial centralization of Treasury activities for Slovnaft Group </a:t>
            </a:r>
            <a:r>
              <a:rPr lang="sk-SK" altLang="sk-SK" sz="2000" dirty="0" smtClean="0">
                <a:solidFill>
                  <a:srgbClr val="595959"/>
                </a:solidFill>
                <a:cs typeface="Arial" charset="0"/>
              </a:rPr>
              <a:t>	</a:t>
            </a: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in Slovakia completed in 2014</a:t>
            </a:r>
          </a:p>
          <a:p>
            <a:pPr marL="342900" indent="-342900" eaLnBrk="1" hangingPunct="1">
              <a:lnSpc>
                <a:spcPct val="140000"/>
              </a:lnSpc>
              <a:spcBef>
                <a:spcPct val="20000"/>
              </a:spcBef>
              <a:spcAft>
                <a:spcPts val="1200"/>
              </a:spcAft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Full centralization to take place by mid-2015 following full implementation of new ERP systems</a:t>
            </a:r>
          </a:p>
          <a:p>
            <a:pPr marL="342900" indent="-342900" algn="just" eaLnBrk="1" hangingPunct="1">
              <a:lnSpc>
                <a:spcPct val="140000"/>
              </a:lnSpc>
              <a:spcBef>
                <a:spcPct val="20000"/>
              </a:spcBef>
              <a:spcAft>
                <a:spcPts val="1200"/>
              </a:spcAft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Centralized activities cover cash management and forecasting, internal reporting, payment processing, bank </a:t>
            </a:r>
            <a:r>
              <a:rPr lang="sk-SK" altLang="sk-SK" sz="2000" dirty="0" smtClean="0">
                <a:solidFill>
                  <a:srgbClr val="595959"/>
                </a:solidFill>
                <a:cs typeface="Arial" charset="0"/>
              </a:rPr>
              <a:t>	</a:t>
            </a: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relations, account management, dealing, contract management, tendering of financial services, and risk management</a:t>
            </a:r>
            <a:endParaRPr lang="nl-NL" altLang="sk-SK" sz="2000" dirty="0">
              <a:solidFill>
                <a:srgbClr val="595959"/>
              </a:solidFill>
              <a:cs typeface="Arial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107504" y="1052736"/>
            <a:ext cx="8424456" cy="0"/>
          </a:xfrm>
          <a:prstGeom prst="line">
            <a:avLst/>
          </a:prstGeom>
          <a:ln>
            <a:solidFill>
              <a:srgbClr val="FFC000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5769" y="6065610"/>
            <a:ext cx="552381" cy="723810"/>
          </a:xfrm>
          <a:prstGeom prst="rect">
            <a:avLst/>
          </a:prstGeom>
        </p:spPr>
      </p:pic>
      <p:sp>
        <p:nvSpPr>
          <p:cNvPr id="7" name="Slide Number Placeholder 1"/>
          <p:cNvSpPr txBox="1">
            <a:spLocks/>
          </p:cNvSpPr>
          <p:nvPr/>
        </p:nvSpPr>
        <p:spPr>
          <a:xfrm>
            <a:off x="6948264" y="6348714"/>
            <a:ext cx="21336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7C5839F-3828-46FB-AEFF-9E0860CD0405}" type="slidenum">
              <a:rPr lang="en-GB" sz="12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r"/>
              <a:t>11</a:t>
            </a:fld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8274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252000" y="360000"/>
            <a:ext cx="5805487" cy="63500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3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Key Projects - 2014</a:t>
            </a:r>
            <a:endParaRPr lang="nl-NL" sz="2300" b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8" name="Subtitel 2"/>
          <p:cNvSpPr txBox="1">
            <a:spLocks/>
          </p:cNvSpPr>
          <p:nvPr/>
        </p:nvSpPr>
        <p:spPr>
          <a:xfrm>
            <a:off x="360000" y="1484784"/>
            <a:ext cx="7923212" cy="4973166"/>
          </a:xfrm>
          <a:prstGeom prst="rect">
            <a:avLst/>
          </a:prstGeom>
        </p:spPr>
        <p:txBody>
          <a:bodyPr>
            <a:norm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20000"/>
              </a:spcBef>
              <a:spcAft>
                <a:spcPts val="1200"/>
              </a:spcAft>
              <a:buClr>
                <a:srgbClr val="FFD73B"/>
              </a:buClr>
            </a:pPr>
            <a:r>
              <a:rPr lang="en-US" altLang="sk-SK" sz="2000" u="sng" dirty="0" smtClean="0">
                <a:solidFill>
                  <a:srgbClr val="595959"/>
                </a:solidFill>
                <a:cs typeface="Arial" charset="0"/>
              </a:rPr>
              <a:t>Key Treasury projects completed or started in 2014:</a:t>
            </a:r>
          </a:p>
          <a:p>
            <a:pPr marL="342900" indent="-342900" eaLnBrk="1" hangingPunct="1">
              <a:lnSpc>
                <a:spcPct val="17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Partial Treasury centralization within Slovnaft Group in Slovakia</a:t>
            </a:r>
          </a:p>
          <a:p>
            <a:pPr marL="342900" indent="-342900" eaLnBrk="1" hangingPunct="1">
              <a:lnSpc>
                <a:spcPct val="17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Participation in SAP implementation in SLOVNAFT, </a:t>
            </a:r>
            <a:r>
              <a:rPr lang="en-US" altLang="sk-SK" sz="2000" dirty="0" err="1" smtClean="0">
                <a:solidFill>
                  <a:srgbClr val="595959"/>
                </a:solidFill>
                <a:cs typeface="Arial" charset="0"/>
              </a:rPr>
              <a:t>a.s</a:t>
            </a: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.</a:t>
            </a:r>
          </a:p>
          <a:p>
            <a:pPr marL="342900" indent="-342900" eaLnBrk="1" hangingPunct="1">
              <a:lnSpc>
                <a:spcPct val="17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Transfer of dealing </a:t>
            </a:r>
            <a:r>
              <a:rPr lang="en-US" altLang="sk-SK" sz="2000" dirty="0" smtClean="0">
                <a:solidFill>
                  <a:schemeClr val="bg2">
                    <a:lumMod val="25000"/>
                  </a:schemeClr>
                </a:solidFill>
                <a:cs typeface="Arial" charset="0"/>
              </a:rPr>
              <a:t>activities</a:t>
            </a: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 to </a:t>
            </a:r>
            <a:r>
              <a:rPr lang="en-US" altLang="sk-SK" sz="2000" dirty="0" smtClean="0">
                <a:solidFill>
                  <a:schemeClr val="bg2">
                    <a:lumMod val="25000"/>
                  </a:schemeClr>
                </a:solidFill>
                <a:cs typeface="Arial" charset="0"/>
              </a:rPr>
              <a:t>MOL</a:t>
            </a:r>
          </a:p>
          <a:p>
            <a:pPr marL="342900" indent="-342900" eaLnBrk="1" hangingPunct="1">
              <a:lnSpc>
                <a:spcPct val="17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Cash management banking tenders for Slovakia &amp; CZ</a:t>
            </a:r>
          </a:p>
          <a:p>
            <a:pPr marL="342900" indent="-342900" eaLnBrk="1" hangingPunct="1">
              <a:lnSpc>
                <a:spcPct val="17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Optimization of short-term credit facilities</a:t>
            </a:r>
          </a:p>
          <a:p>
            <a:pPr marL="342900" indent="-342900" eaLnBrk="1" hangingPunct="1">
              <a:lnSpc>
                <a:spcPct val="17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Introduction of Group risk management standards </a:t>
            </a:r>
            <a:r>
              <a:rPr lang="en-US" altLang="sk-SK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 the CZ</a:t>
            </a:r>
          </a:p>
          <a:p>
            <a:pPr marL="342900" indent="-342900" eaLnBrk="1" hangingPunct="1">
              <a:lnSpc>
                <a:spcPct val="17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Working capital optimization - receivables</a:t>
            </a:r>
            <a:endParaRPr lang="nl-NL" altLang="sk-SK" sz="2000" dirty="0">
              <a:solidFill>
                <a:srgbClr val="595959"/>
              </a:solidFill>
              <a:cs typeface="Arial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107504" y="1052736"/>
            <a:ext cx="8424456" cy="0"/>
          </a:xfrm>
          <a:prstGeom prst="line">
            <a:avLst/>
          </a:prstGeom>
          <a:ln>
            <a:solidFill>
              <a:srgbClr val="FFC000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5769" y="6065610"/>
            <a:ext cx="552381" cy="723810"/>
          </a:xfrm>
          <a:prstGeom prst="rect">
            <a:avLst/>
          </a:prstGeom>
        </p:spPr>
      </p:pic>
      <p:sp>
        <p:nvSpPr>
          <p:cNvPr id="7" name="Slide Number Placeholder 1"/>
          <p:cNvSpPr txBox="1">
            <a:spLocks/>
          </p:cNvSpPr>
          <p:nvPr/>
        </p:nvSpPr>
        <p:spPr>
          <a:xfrm>
            <a:off x="6948264" y="6348714"/>
            <a:ext cx="21336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7C5839F-3828-46FB-AEFF-9E0860CD0405}" type="slidenum">
              <a:rPr lang="en-GB" sz="12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r"/>
              <a:t>12</a:t>
            </a:fld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755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252000" y="360000"/>
            <a:ext cx="5805487" cy="63500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3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Key Projects - </a:t>
            </a:r>
            <a:r>
              <a:rPr lang="en-US" sz="23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2015</a:t>
            </a:r>
            <a:endParaRPr lang="nl-NL" sz="2300" b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8" name="Subtitel 2"/>
          <p:cNvSpPr txBox="1">
            <a:spLocks/>
          </p:cNvSpPr>
          <p:nvPr/>
        </p:nvSpPr>
        <p:spPr>
          <a:xfrm>
            <a:off x="360000" y="1484784"/>
            <a:ext cx="7946072" cy="4973166"/>
          </a:xfrm>
          <a:prstGeom prst="rect">
            <a:avLst/>
          </a:prstGeom>
        </p:spPr>
        <p:txBody>
          <a:bodyPr>
            <a:norm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20000"/>
              </a:spcBef>
              <a:spcAft>
                <a:spcPts val="1200"/>
              </a:spcAft>
              <a:buClr>
                <a:srgbClr val="FFD73B"/>
              </a:buClr>
            </a:pPr>
            <a:r>
              <a:rPr lang="en-US" altLang="sk-SK" sz="2000" u="sng" dirty="0">
                <a:solidFill>
                  <a:srgbClr val="595959"/>
                </a:solidFill>
                <a:cs typeface="Arial" charset="0"/>
              </a:rPr>
              <a:t>Key Treasury projects </a:t>
            </a:r>
            <a:r>
              <a:rPr lang="en-US" altLang="sk-SK" sz="2000" u="sng" dirty="0" smtClean="0">
                <a:solidFill>
                  <a:srgbClr val="595959"/>
                </a:solidFill>
                <a:cs typeface="Arial" charset="0"/>
              </a:rPr>
              <a:t>planned for 2015:</a:t>
            </a:r>
          </a:p>
          <a:p>
            <a:pPr marL="342900" indent="-342900" eaLnBrk="1" hangingPunct="1">
              <a:lnSpc>
                <a:spcPct val="17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Full Treasury </a:t>
            </a:r>
            <a:r>
              <a:rPr lang="en-US" altLang="sk-SK" sz="2000" dirty="0">
                <a:solidFill>
                  <a:srgbClr val="595959"/>
                </a:solidFill>
                <a:cs typeface="Arial" charset="0"/>
              </a:rPr>
              <a:t>centralization within Slovnaft </a:t>
            </a: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Group in Slovakia</a:t>
            </a:r>
            <a:endParaRPr lang="en-US" altLang="sk-SK" sz="2000" dirty="0">
              <a:solidFill>
                <a:srgbClr val="595959"/>
              </a:solidFill>
              <a:cs typeface="Arial" charset="0"/>
            </a:endParaRPr>
          </a:p>
          <a:p>
            <a:pPr marL="342900" indent="-342900" eaLnBrk="1" hangingPunct="1">
              <a:lnSpc>
                <a:spcPct val="17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POS banking tender for Slovakia &amp; Czech Republic</a:t>
            </a:r>
            <a:endParaRPr lang="en-US" altLang="sk-SK" sz="2000" dirty="0">
              <a:solidFill>
                <a:srgbClr val="595959"/>
              </a:solidFill>
              <a:cs typeface="Arial" charset="0"/>
            </a:endParaRPr>
          </a:p>
          <a:p>
            <a:pPr marL="342900" indent="-342900" eaLnBrk="1" hangingPunct="1">
              <a:lnSpc>
                <a:spcPct val="17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Revision of short-term investment strategy</a:t>
            </a:r>
            <a:endParaRPr lang="en-US" altLang="sk-SK" sz="2000" dirty="0">
              <a:solidFill>
                <a:srgbClr val="595959"/>
              </a:solidFill>
              <a:cs typeface="Arial" charset="0"/>
            </a:endParaRPr>
          </a:p>
          <a:p>
            <a:pPr marL="342900" indent="-342900" eaLnBrk="1" hangingPunct="1">
              <a:lnSpc>
                <a:spcPct val="17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Participation in Group cash management/cash pool tender</a:t>
            </a:r>
            <a:endParaRPr lang="en-US" altLang="sk-SK" sz="2000" dirty="0">
              <a:solidFill>
                <a:srgbClr val="595959"/>
              </a:solidFill>
              <a:cs typeface="Arial" charset="0"/>
            </a:endParaRPr>
          </a:p>
          <a:p>
            <a:pPr marL="342900" indent="-342900" eaLnBrk="1" hangingPunct="1">
              <a:lnSpc>
                <a:spcPct val="17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Introduction of new company payment card policy</a:t>
            </a:r>
            <a:endParaRPr lang="en-US" altLang="sk-SK" sz="2000" dirty="0">
              <a:solidFill>
                <a:srgbClr val="595959"/>
              </a:solidFill>
              <a:cs typeface="Arial" charset="0"/>
            </a:endParaRPr>
          </a:p>
          <a:p>
            <a:pPr marL="342900" indent="-342900" eaLnBrk="1" hangingPunct="1">
              <a:lnSpc>
                <a:spcPct val="17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Working </a:t>
            </a:r>
            <a:r>
              <a:rPr lang="en-US" altLang="sk-SK" sz="2000" dirty="0">
                <a:solidFill>
                  <a:srgbClr val="595959"/>
                </a:solidFill>
                <a:cs typeface="Arial" charset="0"/>
              </a:rPr>
              <a:t>capital optimization - </a:t>
            </a: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payables</a:t>
            </a:r>
            <a:endParaRPr lang="nl-NL" altLang="sk-SK" sz="2000" dirty="0">
              <a:solidFill>
                <a:srgbClr val="595959"/>
              </a:solidFill>
              <a:cs typeface="Arial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107504" y="1052736"/>
            <a:ext cx="8424456" cy="0"/>
          </a:xfrm>
          <a:prstGeom prst="line">
            <a:avLst/>
          </a:prstGeom>
          <a:ln>
            <a:solidFill>
              <a:srgbClr val="FFC000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5769" y="6065610"/>
            <a:ext cx="552381" cy="723810"/>
          </a:xfrm>
          <a:prstGeom prst="rect">
            <a:avLst/>
          </a:prstGeom>
        </p:spPr>
      </p:pic>
      <p:sp>
        <p:nvSpPr>
          <p:cNvPr id="7" name="Slide Number Placeholder 1"/>
          <p:cNvSpPr txBox="1">
            <a:spLocks/>
          </p:cNvSpPr>
          <p:nvPr/>
        </p:nvSpPr>
        <p:spPr>
          <a:xfrm>
            <a:off x="6948264" y="6348714"/>
            <a:ext cx="21336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7C5839F-3828-46FB-AEFF-9E0860CD0405}" type="slidenum">
              <a:rPr lang="en-GB" sz="12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r"/>
              <a:t>13</a:t>
            </a:fld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4037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636912"/>
            <a:ext cx="8229600" cy="3489251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hank you for your attention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179512" y="2492896"/>
            <a:ext cx="8424456" cy="0"/>
          </a:xfrm>
          <a:prstGeom prst="line">
            <a:avLst/>
          </a:prstGeom>
          <a:ln>
            <a:solidFill>
              <a:srgbClr val="FFC000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7949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251999" y="360000"/>
            <a:ext cx="5760000" cy="612000"/>
          </a:xfrm>
          <a:prstGeom prst="rect">
            <a:avLst/>
          </a:prstGeom>
        </p:spPr>
        <p:txBody>
          <a:bodyPr anchor="ctr">
            <a:normAutofit fontScale="975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Overview</a:t>
            </a:r>
            <a:endParaRPr lang="en-US" sz="2400" b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107504" y="1052736"/>
            <a:ext cx="8424456" cy="0"/>
          </a:xfrm>
          <a:prstGeom prst="line">
            <a:avLst/>
          </a:prstGeom>
          <a:ln>
            <a:solidFill>
              <a:srgbClr val="FFC000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Subtitel 2"/>
          <p:cNvSpPr txBox="1">
            <a:spLocks/>
          </p:cNvSpPr>
          <p:nvPr/>
        </p:nvSpPr>
        <p:spPr>
          <a:xfrm>
            <a:off x="723588" y="1556792"/>
            <a:ext cx="4138613" cy="4523966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342900" indent="-342900" defTabSz="457200" eaLnBrk="1" fontAlgn="base" hangingPunct="1">
              <a:lnSpc>
                <a:spcPct val="140000"/>
              </a:lnSpc>
              <a:spcBef>
                <a:spcPct val="20000"/>
              </a:spcBef>
              <a:spcAft>
                <a:spcPct val="0"/>
              </a:spcAft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Slovnaft in the CE Region</a:t>
            </a:r>
            <a:endParaRPr lang="nl-NL" altLang="sk-SK" sz="2000" dirty="0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  <a:p>
            <a:pPr marL="342900" indent="-342900" defTabSz="457200" eaLnBrk="1" fontAlgn="base" hangingPunct="1">
              <a:lnSpc>
                <a:spcPct val="140000"/>
              </a:lnSpc>
              <a:spcBef>
                <a:spcPct val="20000"/>
              </a:spcBef>
              <a:spcAft>
                <a:spcPct val="0"/>
              </a:spcAft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Position of Treasury</a:t>
            </a:r>
            <a:endParaRPr lang="nl-NL" altLang="sk-SK" sz="2000" dirty="0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  <a:p>
            <a:pPr marL="342900" indent="-342900" defTabSz="457200" eaLnBrk="1" fontAlgn="base" hangingPunct="1">
              <a:lnSpc>
                <a:spcPct val="140000"/>
              </a:lnSpc>
              <a:spcBef>
                <a:spcPct val="20000"/>
              </a:spcBef>
              <a:spcAft>
                <a:spcPct val="0"/>
              </a:spcAft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Role of Treasury</a:t>
            </a:r>
            <a:endParaRPr lang="nl-NL" altLang="sk-SK" sz="2000" dirty="0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  <a:p>
            <a:pPr marL="342900" indent="-342900" defTabSz="457200" eaLnBrk="1" fontAlgn="base" hangingPunct="1">
              <a:lnSpc>
                <a:spcPct val="140000"/>
              </a:lnSpc>
              <a:spcBef>
                <a:spcPct val="20000"/>
              </a:spcBef>
              <a:spcAft>
                <a:spcPct val="0"/>
              </a:spcAft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Treasury Unit Organization</a:t>
            </a:r>
            <a:endParaRPr lang="sk-SK" altLang="sk-SK" sz="2000" dirty="0" smtClean="0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  <a:p>
            <a:pPr marL="628650" indent="-342900" defTabSz="457200" eaLnBrk="1" fontAlgn="base" hangingPunct="1">
              <a:lnSpc>
                <a:spcPct val="140000"/>
              </a:lnSpc>
              <a:spcBef>
                <a:spcPct val="20000"/>
              </a:spcBef>
              <a:spcAft>
                <a:spcPct val="0"/>
              </a:spcAft>
              <a:buClr>
                <a:srgbClr val="FFD73B"/>
              </a:buClr>
              <a:buSzPct val="100000"/>
              <a:buFont typeface="Arial" panose="020B0604020202020204" pitchFamily="34" charset="0"/>
              <a:buChar char="•"/>
            </a:pPr>
            <a:r>
              <a:rPr lang="nl-NL" altLang="sk-SK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ront Office</a:t>
            </a:r>
          </a:p>
          <a:p>
            <a:pPr marL="628650" indent="-342900" defTabSz="457200" eaLnBrk="1" fontAlgn="base" hangingPunct="1">
              <a:lnSpc>
                <a:spcPct val="140000"/>
              </a:lnSpc>
              <a:spcBef>
                <a:spcPct val="20000"/>
              </a:spcBef>
              <a:spcAft>
                <a:spcPct val="0"/>
              </a:spcAft>
              <a:buClr>
                <a:srgbClr val="FFD73B"/>
              </a:buClr>
              <a:buSzPct val="100000"/>
              <a:buFont typeface="Arial" panose="020B0604020202020204" pitchFamily="34" charset="0"/>
              <a:buChar char="•"/>
            </a:pPr>
            <a:r>
              <a:rPr lang="nl-NL" altLang="sk-SK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ack Office</a:t>
            </a:r>
          </a:p>
          <a:p>
            <a:pPr marL="628650" indent="-342900" defTabSz="457200" eaLnBrk="1" fontAlgn="base" hangingPunct="1">
              <a:lnSpc>
                <a:spcPct val="140000"/>
              </a:lnSpc>
              <a:spcBef>
                <a:spcPct val="20000"/>
              </a:spcBef>
              <a:spcAft>
                <a:spcPct val="0"/>
              </a:spcAft>
              <a:buClr>
                <a:srgbClr val="FFD73B"/>
              </a:buClr>
              <a:buSzPct val="100000"/>
              <a:buFont typeface="Arial" panose="020B0604020202020204" pitchFamily="34" charset="0"/>
              <a:buChar char="•"/>
            </a:pPr>
            <a:r>
              <a:rPr lang="nl-NL" altLang="sk-SK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Risk Management</a:t>
            </a:r>
          </a:p>
          <a:p>
            <a:pPr marL="342900" indent="-342900" defTabSz="457200" eaLnBrk="1" fontAlgn="base" hangingPunct="1">
              <a:lnSpc>
                <a:spcPct val="140000"/>
              </a:lnSpc>
              <a:spcBef>
                <a:spcPct val="20000"/>
              </a:spcBef>
              <a:spcAft>
                <a:spcPct val="0"/>
              </a:spcAft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Group Treasury</a:t>
            </a:r>
          </a:p>
          <a:p>
            <a:pPr marL="342900" indent="-342900" defTabSz="457200" eaLnBrk="1" fontAlgn="base" hangingPunct="1">
              <a:lnSpc>
                <a:spcPct val="140000"/>
              </a:lnSpc>
              <a:spcBef>
                <a:spcPct val="20000"/>
              </a:spcBef>
              <a:spcAft>
                <a:spcPct val="0"/>
              </a:spcAft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Treasury Centralization</a:t>
            </a:r>
          </a:p>
          <a:p>
            <a:pPr marL="342900" indent="-342900" defTabSz="457200" eaLnBrk="1" fontAlgn="base" hangingPunct="1">
              <a:lnSpc>
                <a:spcPct val="140000"/>
              </a:lnSpc>
              <a:spcBef>
                <a:spcPct val="20000"/>
              </a:spcBef>
              <a:spcAft>
                <a:spcPct val="0"/>
              </a:spcAft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ey Projects </a:t>
            </a:r>
            <a:r>
              <a:rPr lang="sk-SK" altLang="sk-SK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-</a:t>
            </a:r>
            <a:r>
              <a:rPr lang="nl-NL" altLang="sk-SK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2014</a:t>
            </a:r>
          </a:p>
          <a:p>
            <a:pPr marL="342900" indent="-342900" defTabSz="457200" eaLnBrk="1" fontAlgn="base" hangingPunct="1">
              <a:lnSpc>
                <a:spcPct val="140000"/>
              </a:lnSpc>
              <a:spcBef>
                <a:spcPct val="20000"/>
              </a:spcBef>
              <a:spcAft>
                <a:spcPct val="0"/>
              </a:spcAft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20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ey Projects - 2015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4747" y="3140968"/>
            <a:ext cx="3320357" cy="221357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5769" y="6065610"/>
            <a:ext cx="552381" cy="723810"/>
          </a:xfrm>
          <a:prstGeom prst="rect">
            <a:avLst/>
          </a:prstGeom>
        </p:spPr>
      </p:pic>
      <p:sp>
        <p:nvSpPr>
          <p:cNvPr id="11" name="Slide Number Placeholder 1"/>
          <p:cNvSpPr txBox="1">
            <a:spLocks/>
          </p:cNvSpPr>
          <p:nvPr/>
        </p:nvSpPr>
        <p:spPr>
          <a:xfrm>
            <a:off x="6876256" y="6348714"/>
            <a:ext cx="21336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7C5839F-3828-46FB-AEFF-9E0860CD0405}" type="slidenum">
              <a:rPr lang="en-GB" sz="12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r"/>
              <a:t>2</a:t>
            </a:fld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6731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3726837394"/>
              </p:ext>
            </p:extLst>
          </p:nvPr>
        </p:nvGraphicFramePr>
        <p:xfrm>
          <a:off x="201218" y="1253781"/>
          <a:ext cx="8571960" cy="51737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el 1"/>
          <p:cNvSpPr txBox="1">
            <a:spLocks/>
          </p:cNvSpPr>
          <p:nvPr/>
        </p:nvSpPr>
        <p:spPr>
          <a:xfrm>
            <a:off x="251999" y="360000"/>
            <a:ext cx="5760000" cy="612000"/>
          </a:xfrm>
          <a:prstGeom prst="rect">
            <a:avLst/>
          </a:prstGeom>
        </p:spPr>
        <p:txBody>
          <a:bodyPr anchor="ctr">
            <a:normAutofit fontScale="975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4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Slovnaft</a:t>
            </a:r>
            <a:r>
              <a:rPr lang="en-US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in the CE Region</a:t>
            </a:r>
            <a:endParaRPr lang="nl-NL" sz="2400" b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3496454" y="5388374"/>
            <a:ext cx="495300" cy="317204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5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8019549" y="1805436"/>
            <a:ext cx="495300" cy="317204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5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4477132" y="4273120"/>
            <a:ext cx="495300" cy="317204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sk-SK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14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3" name="Straight Connector 2"/>
          <p:cNvCxnSpPr/>
          <p:nvPr/>
        </p:nvCxnSpPr>
        <p:spPr>
          <a:xfrm>
            <a:off x="107504" y="1052736"/>
            <a:ext cx="8424456" cy="0"/>
          </a:xfrm>
          <a:prstGeom prst="line">
            <a:avLst/>
          </a:prstGeom>
          <a:ln>
            <a:solidFill>
              <a:srgbClr val="FFC000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5769" y="6065610"/>
            <a:ext cx="552381" cy="723810"/>
          </a:xfrm>
          <a:prstGeom prst="rect">
            <a:avLst/>
          </a:prstGeom>
        </p:spPr>
      </p:pic>
      <p:sp>
        <p:nvSpPr>
          <p:cNvPr id="11" name="Slide Number Placeholder 1"/>
          <p:cNvSpPr txBox="1">
            <a:spLocks/>
          </p:cNvSpPr>
          <p:nvPr/>
        </p:nvSpPr>
        <p:spPr>
          <a:xfrm>
            <a:off x="6876256" y="6348714"/>
            <a:ext cx="21336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7C5839F-3828-46FB-AEFF-9E0860CD0405}" type="slidenum">
              <a:rPr lang="en-GB" sz="12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r"/>
              <a:t>3</a:t>
            </a:fld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736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252000" y="360000"/>
            <a:ext cx="5760000" cy="61200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3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+mj-ea"/>
                <a:cs typeface="Arial"/>
              </a:rPr>
              <a:t>Position of Treasury</a:t>
            </a:r>
            <a:endParaRPr lang="en-US" sz="2300" b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8" name="Subtitel 2"/>
          <p:cNvSpPr txBox="1">
            <a:spLocks/>
          </p:cNvSpPr>
          <p:nvPr/>
        </p:nvSpPr>
        <p:spPr>
          <a:xfrm>
            <a:off x="360000" y="1412776"/>
            <a:ext cx="8298180" cy="4968552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spcAft>
                <a:spcPts val="1200"/>
              </a:spcAft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Part of the Finance function, reports to the CFO</a:t>
            </a: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spcAft>
                <a:spcPts val="1200"/>
              </a:spcAft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Coordinates with MOL Group Treasury to ensure Group strategy implementation throughout Slovnaft Group/Flagship </a:t>
            </a: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spcAft>
                <a:spcPts val="1200"/>
              </a:spcAft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Interacts closely with other Finance functions (Accounting, Controlling, Tax, IT Management)</a:t>
            </a: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spcAft>
                <a:spcPts val="1200"/>
              </a:spcAft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Acts as the internal bank of the company</a:t>
            </a:r>
          </a:p>
          <a:p>
            <a:pPr marL="342900" indent="-342900" algn="just" eaLnBrk="1" hangingPunct="1">
              <a:lnSpc>
                <a:spcPct val="150000"/>
              </a:lnSpc>
              <a:spcBef>
                <a:spcPct val="20000"/>
              </a:spcBef>
              <a:spcAft>
                <a:spcPts val="1200"/>
              </a:spcAft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sk-SK" sz="2000" b="1" dirty="0" smtClean="0">
                <a:solidFill>
                  <a:srgbClr val="595959"/>
                </a:solidFill>
                <a:cs typeface="Arial" charset="0"/>
              </a:rPr>
              <a:t>Main objective is to flexibly support the core business of Slovnaft and optimize the flows throughout Slovnaft Group/Flagship with a view to minimize financial as well as operational costs and maximize financial as well as business revenue</a:t>
            </a:r>
            <a:endParaRPr lang="en-US" altLang="sk-SK" sz="2000" b="1" dirty="0">
              <a:solidFill>
                <a:srgbClr val="595959"/>
              </a:solidFill>
              <a:cs typeface="Arial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107504" y="1052736"/>
            <a:ext cx="8424456" cy="0"/>
          </a:xfrm>
          <a:prstGeom prst="line">
            <a:avLst/>
          </a:prstGeom>
          <a:ln>
            <a:solidFill>
              <a:srgbClr val="FFC000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5769" y="6065610"/>
            <a:ext cx="552381" cy="723810"/>
          </a:xfrm>
          <a:prstGeom prst="rect">
            <a:avLst/>
          </a:prstGeom>
        </p:spPr>
      </p:pic>
      <p:sp>
        <p:nvSpPr>
          <p:cNvPr id="7" name="Slide Number Placeholder 1"/>
          <p:cNvSpPr txBox="1">
            <a:spLocks/>
          </p:cNvSpPr>
          <p:nvPr/>
        </p:nvSpPr>
        <p:spPr>
          <a:xfrm>
            <a:off x="6876256" y="6348714"/>
            <a:ext cx="21336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7C5839F-3828-46FB-AEFF-9E0860CD0405}" type="slidenum">
              <a:rPr lang="en-GB" sz="12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r"/>
              <a:t>4</a:t>
            </a:fld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303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252000" y="360000"/>
            <a:ext cx="5805487" cy="63500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nl-NL" sz="23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+mj-ea"/>
                <a:cs typeface="Arial"/>
              </a:rPr>
              <a:t>Role of Treasury</a:t>
            </a:r>
            <a:endParaRPr lang="nl-NL" sz="2300" b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141900" y="2283131"/>
            <a:ext cx="1980000" cy="756000"/>
          </a:xfrm>
          <a:prstGeom prst="round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ln>
            <a:solidFill>
              <a:schemeClr val="bg1">
                <a:lumMod val="65000"/>
              </a:schemeClr>
            </a:solidFill>
          </a:ln>
          <a:effectLst>
            <a:outerShdw blurRad="40000" dist="23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altLang="sk-SK" dirty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Liquidity management </a:t>
            </a:r>
            <a:endParaRPr lang="en-US" dirty="0"/>
          </a:p>
        </p:txBody>
      </p:sp>
      <p:sp>
        <p:nvSpPr>
          <p:cNvPr id="9" name="Rounded Rectangle 8"/>
          <p:cNvSpPr/>
          <p:nvPr/>
        </p:nvSpPr>
        <p:spPr>
          <a:xfrm>
            <a:off x="141900" y="3326612"/>
            <a:ext cx="1980000" cy="756000"/>
          </a:xfrm>
          <a:prstGeom prst="round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ln>
            <a:solidFill>
              <a:schemeClr val="bg1">
                <a:lumMod val="65000"/>
              </a:schemeClr>
            </a:solidFill>
          </a:ln>
          <a:effectLst>
            <a:outerShdw blurRad="40000" dist="23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altLang="sk-SK" dirty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Administration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3311434" y="2281443"/>
            <a:ext cx="1980000" cy="756000"/>
          </a:xfrm>
          <a:prstGeom prst="round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ln>
            <a:solidFill>
              <a:schemeClr val="bg1">
                <a:lumMod val="65000"/>
              </a:schemeClr>
            </a:solidFill>
          </a:ln>
          <a:effectLst>
            <a:outerShdw blurRad="40000" dist="23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altLang="sk-SK" dirty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Liquidity management </a:t>
            </a:r>
            <a:endParaRPr lang="en-US" dirty="0"/>
          </a:p>
        </p:txBody>
      </p:sp>
      <p:sp>
        <p:nvSpPr>
          <p:cNvPr id="11" name="Rounded Rectangle 10"/>
          <p:cNvSpPr/>
          <p:nvPr/>
        </p:nvSpPr>
        <p:spPr>
          <a:xfrm>
            <a:off x="3311431" y="3326612"/>
            <a:ext cx="1980000" cy="756000"/>
          </a:xfrm>
          <a:prstGeom prst="round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ln>
            <a:solidFill>
              <a:schemeClr val="bg1">
                <a:lumMod val="65000"/>
              </a:schemeClr>
            </a:solidFill>
          </a:ln>
          <a:effectLst>
            <a:outerShdw blurRad="40000" dist="23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altLang="sk-SK" dirty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Administration</a:t>
            </a:r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6696456" y="2283131"/>
            <a:ext cx="1980000" cy="756000"/>
          </a:xfrm>
          <a:prstGeom prst="round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ln>
            <a:solidFill>
              <a:schemeClr val="bg1">
                <a:lumMod val="65000"/>
              </a:schemeClr>
            </a:solidFill>
          </a:ln>
          <a:effectLst>
            <a:outerShdw blurRad="40000" dist="23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altLang="sk-SK" dirty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Liquidity management </a:t>
            </a:r>
            <a:endParaRPr lang="en-US" dirty="0"/>
          </a:p>
        </p:txBody>
      </p:sp>
      <p:sp>
        <p:nvSpPr>
          <p:cNvPr id="14" name="Rounded Rectangle 13"/>
          <p:cNvSpPr/>
          <p:nvPr/>
        </p:nvSpPr>
        <p:spPr>
          <a:xfrm>
            <a:off x="6696456" y="3313762"/>
            <a:ext cx="1980000" cy="756000"/>
          </a:xfrm>
          <a:prstGeom prst="round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ln>
            <a:solidFill>
              <a:schemeClr val="bg1">
                <a:lumMod val="65000"/>
              </a:schemeClr>
            </a:solidFill>
          </a:ln>
          <a:effectLst>
            <a:outerShdw blurRad="40000" dist="23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altLang="sk-SK" dirty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Administration</a:t>
            </a:r>
            <a:endParaRPr lang="en-US" dirty="0"/>
          </a:p>
        </p:txBody>
      </p:sp>
      <p:sp>
        <p:nvSpPr>
          <p:cNvPr id="16" name="Rounded Rectangle 15"/>
          <p:cNvSpPr/>
          <p:nvPr/>
        </p:nvSpPr>
        <p:spPr>
          <a:xfrm>
            <a:off x="6696456" y="5284873"/>
            <a:ext cx="1980000" cy="756000"/>
          </a:xfrm>
          <a:prstGeom prst="round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ln>
            <a:solidFill>
              <a:schemeClr val="bg1">
                <a:lumMod val="65000"/>
              </a:schemeClr>
            </a:solidFill>
          </a:ln>
          <a:effectLst>
            <a:outerShdw blurRad="40000" dist="23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sk-SK" sz="1600" dirty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Flow optimization within Slovnaft Group/Flagship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cs typeface="Arial" charset="0"/>
            </a:endParaRPr>
          </a:p>
        </p:txBody>
      </p:sp>
      <p:sp>
        <p:nvSpPr>
          <p:cNvPr id="19" name="Right Arrow 18"/>
          <p:cNvSpPr/>
          <p:nvPr/>
        </p:nvSpPr>
        <p:spPr>
          <a:xfrm>
            <a:off x="2260915" y="3022422"/>
            <a:ext cx="913599" cy="291340"/>
          </a:xfrm>
          <a:prstGeom prst="rightArrow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ln>
            <a:solidFill>
              <a:schemeClr val="bg1">
                <a:lumMod val="50000"/>
              </a:schemeClr>
            </a:solidFill>
          </a:ln>
          <a:effectLst>
            <a:outerShdw blurRad="40000" dist="23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Arrow 19"/>
          <p:cNvSpPr/>
          <p:nvPr/>
        </p:nvSpPr>
        <p:spPr>
          <a:xfrm>
            <a:off x="5566776" y="3037443"/>
            <a:ext cx="913599" cy="291340"/>
          </a:xfrm>
          <a:prstGeom prst="rightArrow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ln>
            <a:solidFill>
              <a:schemeClr val="bg1">
                <a:lumMod val="50000"/>
              </a:schemeClr>
            </a:solidFill>
          </a:ln>
          <a:effectLst>
            <a:outerShdw blurRad="40000" dist="23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ounded Rectangle 20"/>
          <p:cNvSpPr/>
          <p:nvPr/>
        </p:nvSpPr>
        <p:spPr>
          <a:xfrm>
            <a:off x="6696456" y="4299763"/>
            <a:ext cx="1980000" cy="756000"/>
          </a:xfrm>
          <a:prstGeom prst="round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ln>
            <a:solidFill>
              <a:schemeClr val="bg1">
                <a:lumMod val="65000"/>
              </a:schemeClr>
            </a:solidFill>
          </a:ln>
          <a:effectLst>
            <a:outerShdw blurRad="40000" dist="23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altLang="sk-SK" dirty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Overall risk management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cs typeface="Arial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0902" y="1355000"/>
            <a:ext cx="38779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hangingPunct="1">
              <a:spcBef>
                <a:spcPct val="20000"/>
              </a:spcBef>
              <a:buClr>
                <a:srgbClr val="FFD73B"/>
              </a:buClr>
            </a:pPr>
            <a:r>
              <a:rPr lang="en-US" altLang="sk-SK" u="sng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Development over the last 10 years</a:t>
            </a:r>
            <a:r>
              <a:rPr lang="en-US" altLang="sk-SK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:</a:t>
            </a:r>
            <a:endParaRPr lang="en-US" altLang="sk-SK" dirty="0">
              <a:solidFill>
                <a:schemeClr val="tx1">
                  <a:lumMod val="75000"/>
                  <a:lumOff val="25000"/>
                </a:schemeClr>
              </a:solidFill>
              <a:cs typeface="Arial" charset="0"/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107504" y="1052736"/>
            <a:ext cx="8424456" cy="0"/>
          </a:xfrm>
          <a:prstGeom prst="line">
            <a:avLst/>
          </a:prstGeom>
          <a:ln>
            <a:solidFill>
              <a:srgbClr val="FFC000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11"/>
          <p:cNvSpPr/>
          <p:nvPr/>
        </p:nvSpPr>
        <p:spPr>
          <a:xfrm>
            <a:off x="3311431" y="4342513"/>
            <a:ext cx="1980000" cy="756000"/>
          </a:xfrm>
          <a:prstGeom prst="round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</a:gradFill>
          <a:ln>
            <a:solidFill>
              <a:schemeClr val="bg1">
                <a:lumMod val="65000"/>
              </a:schemeClr>
            </a:solidFill>
          </a:ln>
          <a:effectLst>
            <a:outerShdw blurRad="40000" dist="23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altLang="sk-SK" dirty="0">
                <a:solidFill>
                  <a:schemeClr val="tx1">
                    <a:lumMod val="75000"/>
                    <a:lumOff val="25000"/>
                  </a:schemeClr>
                </a:solidFill>
                <a:cs typeface="Arial" charset="0"/>
              </a:rPr>
              <a:t>Overall risk management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cs typeface="Arial" charset="0"/>
            </a:endParaRPr>
          </a:p>
        </p:txBody>
      </p:sp>
      <p:sp>
        <p:nvSpPr>
          <p:cNvPr id="3" name="Explosion 1 2"/>
          <p:cNvSpPr/>
          <p:nvPr/>
        </p:nvSpPr>
        <p:spPr>
          <a:xfrm>
            <a:off x="4749511" y="4069762"/>
            <a:ext cx="972000" cy="504000"/>
          </a:xfrm>
          <a:prstGeom prst="irregularSeal1">
            <a:avLst/>
          </a:prstGeom>
          <a:solidFill>
            <a:srgbClr val="FFF6D9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FFC000"/>
                </a:solidFill>
              </a:rPr>
              <a:t>NEW</a:t>
            </a:r>
          </a:p>
        </p:txBody>
      </p:sp>
      <p:sp>
        <p:nvSpPr>
          <p:cNvPr id="18" name="Explosion 1 17"/>
          <p:cNvSpPr/>
          <p:nvPr/>
        </p:nvSpPr>
        <p:spPr>
          <a:xfrm>
            <a:off x="8172400" y="4936460"/>
            <a:ext cx="971600" cy="508764"/>
          </a:xfrm>
          <a:prstGeom prst="irregularSeal1">
            <a:avLst/>
          </a:prstGeom>
          <a:solidFill>
            <a:srgbClr val="FFF6D9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FFC000"/>
                </a:solidFill>
              </a:rPr>
              <a:t>NEW</a:t>
            </a:r>
            <a:endParaRPr lang="en-US" sz="1200" dirty="0">
              <a:solidFill>
                <a:srgbClr val="FFC000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5769" y="6065610"/>
            <a:ext cx="552381" cy="723810"/>
          </a:xfrm>
          <a:prstGeom prst="rect">
            <a:avLst/>
          </a:prstGeom>
        </p:spPr>
      </p:pic>
      <p:sp>
        <p:nvSpPr>
          <p:cNvPr id="25" name="Slide Number Placeholder 1"/>
          <p:cNvSpPr txBox="1">
            <a:spLocks/>
          </p:cNvSpPr>
          <p:nvPr/>
        </p:nvSpPr>
        <p:spPr>
          <a:xfrm>
            <a:off x="6876256" y="6348714"/>
            <a:ext cx="21336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7C5839F-3828-46FB-AEFF-9E0860CD0405}" type="slidenum">
              <a:rPr lang="en-GB" sz="12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r"/>
              <a:t>5</a:t>
            </a:fld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8080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3" grpId="0" animBg="1"/>
      <p:bldP spid="14" grpId="0" animBg="1"/>
      <p:bldP spid="16" grpId="0" animBg="1"/>
      <p:bldP spid="19" grpId="0" animBg="1"/>
      <p:bldP spid="20" grpId="0" animBg="1"/>
      <p:bldP spid="21" grpId="0" animBg="1"/>
      <p:bldP spid="12" grpId="0" animBg="1"/>
      <p:bldP spid="3" grpId="0" animBg="1"/>
      <p:bldP spid="1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252000" y="360000"/>
            <a:ext cx="6270172" cy="63500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3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Treasury Unit Organization</a:t>
            </a:r>
            <a:endParaRPr lang="nl-NL" sz="2300" b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8" name="Subtitel 2"/>
          <p:cNvSpPr txBox="1">
            <a:spLocks/>
          </p:cNvSpPr>
          <p:nvPr/>
        </p:nvSpPr>
        <p:spPr>
          <a:xfrm>
            <a:off x="534988" y="2226809"/>
            <a:ext cx="7400698" cy="2809875"/>
          </a:xfrm>
          <a:prstGeom prst="rect">
            <a:avLst/>
          </a:prstGeom>
        </p:spPr>
        <p:txBody>
          <a:bodyPr>
            <a:norm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FFD73B"/>
              </a:buClr>
            </a:pPr>
            <a:r>
              <a:rPr lang="sk-SK" altLang="sk-SK" sz="2000" dirty="0">
                <a:solidFill>
                  <a:srgbClr val="595959"/>
                </a:solidFill>
                <a:cs typeface="Arial" charset="0"/>
              </a:rPr>
              <a:t> </a:t>
            </a:r>
            <a:endParaRPr lang="nl-NL" altLang="sk-SK" sz="2000" b="1" dirty="0">
              <a:solidFill>
                <a:srgbClr val="595959"/>
              </a:solidFill>
              <a:cs typeface="Arial" charset="0"/>
            </a:endParaRP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3605647456"/>
              </p:ext>
            </p:extLst>
          </p:nvPr>
        </p:nvGraphicFramePr>
        <p:xfrm>
          <a:off x="611561" y="1196752"/>
          <a:ext cx="7704856" cy="46801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5" name="Straight Connector 14"/>
          <p:cNvCxnSpPr/>
          <p:nvPr/>
        </p:nvCxnSpPr>
        <p:spPr>
          <a:xfrm>
            <a:off x="107504" y="1052736"/>
            <a:ext cx="8424456" cy="0"/>
          </a:xfrm>
          <a:prstGeom prst="line">
            <a:avLst/>
          </a:prstGeom>
          <a:ln>
            <a:solidFill>
              <a:srgbClr val="FFC000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2" name="Group 21"/>
          <p:cNvGrpSpPr/>
          <p:nvPr/>
        </p:nvGrpSpPr>
        <p:grpSpPr>
          <a:xfrm>
            <a:off x="1302463" y="5444705"/>
            <a:ext cx="510730" cy="525814"/>
            <a:chOff x="1302463" y="5444705"/>
            <a:chExt cx="510730" cy="525814"/>
          </a:xfrm>
        </p:grpSpPr>
        <p:sp>
          <p:nvSpPr>
            <p:cNvPr id="3" name="TextBox 2"/>
            <p:cNvSpPr txBox="1"/>
            <p:nvPr/>
          </p:nvSpPr>
          <p:spPr>
            <a:xfrm>
              <a:off x="1302463" y="5503664"/>
              <a:ext cx="24873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4</a:t>
              </a:r>
              <a:endPara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00025" y="5444705"/>
              <a:ext cx="213168" cy="525814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4139952" y="5436919"/>
            <a:ext cx="510730" cy="525814"/>
            <a:chOff x="4367218" y="6037373"/>
            <a:chExt cx="510730" cy="525814"/>
          </a:xfrm>
        </p:grpSpPr>
        <p:sp>
          <p:nvSpPr>
            <p:cNvPr id="16" name="TextBox 15"/>
            <p:cNvSpPr txBox="1"/>
            <p:nvPr/>
          </p:nvSpPr>
          <p:spPr>
            <a:xfrm>
              <a:off x="4367218" y="6096332"/>
              <a:ext cx="24873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8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64780" y="6037373"/>
              <a:ext cx="213168" cy="525814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6948264" y="5423466"/>
            <a:ext cx="510730" cy="525814"/>
            <a:chOff x="6585215" y="6056174"/>
            <a:chExt cx="510730" cy="525814"/>
          </a:xfrm>
        </p:grpSpPr>
        <p:sp>
          <p:nvSpPr>
            <p:cNvPr id="18" name="TextBox 17"/>
            <p:cNvSpPr txBox="1"/>
            <p:nvPr/>
          </p:nvSpPr>
          <p:spPr>
            <a:xfrm>
              <a:off x="6585215" y="6115133"/>
              <a:ext cx="24873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9</a:t>
              </a:r>
              <a:endPara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82777" y="6056174"/>
              <a:ext cx="213168" cy="525814"/>
            </a:xfrm>
            <a:prstGeom prst="rect">
              <a:avLst/>
            </a:prstGeom>
          </p:spPr>
        </p:pic>
      </p:grpSp>
      <p:pic>
        <p:nvPicPr>
          <p:cNvPr id="23" name="Picture 2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5769" y="6065610"/>
            <a:ext cx="552381" cy="723810"/>
          </a:xfrm>
          <a:prstGeom prst="rect">
            <a:avLst/>
          </a:prstGeom>
        </p:spPr>
      </p:pic>
      <p:sp>
        <p:nvSpPr>
          <p:cNvPr id="24" name="Slide Number Placeholder 1"/>
          <p:cNvSpPr txBox="1">
            <a:spLocks/>
          </p:cNvSpPr>
          <p:nvPr/>
        </p:nvSpPr>
        <p:spPr>
          <a:xfrm>
            <a:off x="6876256" y="6348714"/>
            <a:ext cx="21336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7C5839F-3828-46FB-AEFF-9E0860CD0405}" type="slidenum">
              <a:rPr lang="en-GB" sz="12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r"/>
              <a:t>6</a:t>
            </a:fld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546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252000" y="360000"/>
            <a:ext cx="5805487" cy="63500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3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Front Office</a:t>
            </a:r>
            <a:endParaRPr lang="nl-NL" sz="2300" b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8" name="Subtitel 2"/>
          <p:cNvSpPr txBox="1">
            <a:spLocks/>
          </p:cNvSpPr>
          <p:nvPr/>
        </p:nvSpPr>
        <p:spPr>
          <a:xfrm>
            <a:off x="360000" y="1440000"/>
            <a:ext cx="4802822" cy="5040560"/>
          </a:xfrm>
          <a:prstGeom prst="rect">
            <a:avLst/>
          </a:prstGeom>
        </p:spPr>
        <p:txBody>
          <a:bodyPr>
            <a:normAutofit fontScale="92500"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rgbClr val="FFD73B"/>
              </a:buClr>
            </a:pPr>
            <a:r>
              <a:rPr lang="sk-SK" altLang="sk-SK" sz="2000" dirty="0">
                <a:solidFill>
                  <a:srgbClr val="595959"/>
                </a:solidFill>
                <a:cs typeface="Arial" charset="0"/>
              </a:rPr>
              <a:t> </a:t>
            </a:r>
            <a:r>
              <a:rPr lang="en-US" altLang="sk-SK" sz="2000" u="sng" dirty="0" smtClean="0">
                <a:solidFill>
                  <a:srgbClr val="595959"/>
                </a:solidFill>
                <a:cs typeface="Arial" charset="0"/>
              </a:rPr>
              <a:t>Key Activities</a:t>
            </a:r>
            <a:r>
              <a:rPr lang="en-US" altLang="sk-SK" sz="2000" dirty="0" smtClean="0">
                <a:solidFill>
                  <a:srgbClr val="595959"/>
                </a:solidFill>
                <a:cs typeface="Arial" charset="0"/>
              </a:rPr>
              <a:t>:</a:t>
            </a: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2000" dirty="0" smtClean="0">
                <a:solidFill>
                  <a:srgbClr val="595959"/>
                </a:solidFill>
                <a:cs typeface="Arial" charset="0"/>
              </a:rPr>
              <a:t>Cash flow management and forecasting</a:t>
            </a: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2000" dirty="0" smtClean="0">
                <a:solidFill>
                  <a:srgbClr val="595959"/>
                </a:solidFill>
                <a:cs typeface="Arial" charset="0"/>
              </a:rPr>
              <a:t>Liquidity planning and control</a:t>
            </a: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2000" dirty="0" smtClean="0">
                <a:solidFill>
                  <a:srgbClr val="595959"/>
                </a:solidFill>
                <a:cs typeface="Arial" charset="0"/>
              </a:rPr>
              <a:t>Procurement of financing and </a:t>
            </a:r>
            <a:r>
              <a:rPr lang="sk-SK" altLang="sk-SK" sz="2000" dirty="0" smtClean="0">
                <a:solidFill>
                  <a:srgbClr val="595959"/>
                </a:solidFill>
                <a:cs typeface="Arial" charset="0"/>
              </a:rPr>
              <a:t>  </a:t>
            </a:r>
            <a:r>
              <a:rPr lang="nl-NL" altLang="sk-SK" sz="2000" dirty="0" smtClean="0">
                <a:solidFill>
                  <a:srgbClr val="595959"/>
                </a:solidFill>
                <a:cs typeface="Arial" charset="0"/>
              </a:rPr>
              <a:t>investments</a:t>
            </a: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2000" dirty="0" smtClean="0">
                <a:solidFill>
                  <a:srgbClr val="595959"/>
                </a:solidFill>
                <a:cs typeface="Arial" charset="0"/>
              </a:rPr>
              <a:t>Bank relationships</a:t>
            </a: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2000" dirty="0" smtClean="0">
                <a:solidFill>
                  <a:srgbClr val="595959"/>
                </a:solidFill>
                <a:cs typeface="Arial" charset="0"/>
              </a:rPr>
              <a:t>Coordination of Slovnaft Group/Flagship companies</a:t>
            </a: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2000" dirty="0" smtClean="0">
                <a:solidFill>
                  <a:srgbClr val="595959"/>
                </a:solidFill>
                <a:cs typeface="Arial" charset="0"/>
              </a:rPr>
              <a:t>Internal reporting</a:t>
            </a: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2000" dirty="0" smtClean="0">
                <a:solidFill>
                  <a:srgbClr val="595959"/>
                </a:solidFill>
                <a:cs typeface="Arial" charset="0"/>
              </a:rPr>
              <a:t>MOL Group projects</a:t>
            </a:r>
            <a:endParaRPr lang="nl-NL" altLang="sk-SK" sz="2000" dirty="0">
              <a:solidFill>
                <a:srgbClr val="595959"/>
              </a:solidFill>
              <a:cs typeface="Arial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509260" y="5374957"/>
            <a:ext cx="3240000" cy="64633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nversion to USD:</a:t>
            </a:r>
          </a:p>
          <a:p>
            <a:pPr algn="ctr"/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70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n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 USD / month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509260" y="2087195"/>
            <a:ext cx="3240000" cy="900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rawn and undrawn facilities (short- and mid-term):</a:t>
            </a:r>
          </a:p>
          <a:p>
            <a:pPr algn="ctr"/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350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n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 EUR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09260" y="3861048"/>
            <a:ext cx="3240000" cy="64633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Volume of </a:t>
            </a:r>
            <a:r>
              <a:rPr lang="sk-SK" u="sng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ustom</a:t>
            </a:r>
            <a:r>
              <a:rPr lang="sk-SK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sk-SK" u="sng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guarantees</a:t>
            </a:r>
            <a:r>
              <a:rPr lang="en-US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:</a:t>
            </a:r>
          </a:p>
          <a:p>
            <a:pPr algn="ctr"/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15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n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 EUR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107504" y="1052736"/>
            <a:ext cx="8424456" cy="0"/>
          </a:xfrm>
          <a:prstGeom prst="line">
            <a:avLst/>
          </a:prstGeom>
          <a:ln>
            <a:solidFill>
              <a:srgbClr val="FFC000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2" name="Group 11"/>
          <p:cNvGrpSpPr/>
          <p:nvPr/>
        </p:nvGrpSpPr>
        <p:grpSpPr>
          <a:xfrm>
            <a:off x="7956376" y="403578"/>
            <a:ext cx="510730" cy="525814"/>
            <a:chOff x="1302463" y="5444705"/>
            <a:chExt cx="510730" cy="525814"/>
          </a:xfrm>
        </p:grpSpPr>
        <p:sp>
          <p:nvSpPr>
            <p:cNvPr id="13" name="TextBox 12"/>
            <p:cNvSpPr txBox="1"/>
            <p:nvPr/>
          </p:nvSpPr>
          <p:spPr>
            <a:xfrm>
              <a:off x="1302463" y="5503664"/>
              <a:ext cx="24873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4</a:t>
              </a:r>
              <a:endPara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00025" y="5444705"/>
              <a:ext cx="213168" cy="525814"/>
            </a:xfrm>
            <a:prstGeom prst="rect">
              <a:avLst/>
            </a:prstGeom>
          </p:spPr>
        </p:pic>
      </p:grp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5769" y="6065610"/>
            <a:ext cx="552381" cy="723810"/>
          </a:xfrm>
          <a:prstGeom prst="rect">
            <a:avLst/>
          </a:prstGeom>
        </p:spPr>
      </p:pic>
      <p:sp>
        <p:nvSpPr>
          <p:cNvPr id="16" name="Slide Number Placeholder 1"/>
          <p:cNvSpPr txBox="1">
            <a:spLocks/>
          </p:cNvSpPr>
          <p:nvPr/>
        </p:nvSpPr>
        <p:spPr>
          <a:xfrm>
            <a:off x="6876256" y="6348714"/>
            <a:ext cx="21336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7C5839F-3828-46FB-AEFF-9E0860CD0405}" type="slidenum">
              <a:rPr lang="en-GB" sz="12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r"/>
              <a:t>7</a:t>
            </a:fld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9998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252000" y="360000"/>
            <a:ext cx="5805487" cy="63500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3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Back Office</a:t>
            </a:r>
            <a:endParaRPr lang="nl-NL" sz="2300" b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Subtitel 2"/>
          <p:cNvSpPr txBox="1">
            <a:spLocks/>
          </p:cNvSpPr>
          <p:nvPr/>
        </p:nvSpPr>
        <p:spPr>
          <a:xfrm>
            <a:off x="360000" y="1440000"/>
            <a:ext cx="4837112" cy="5082892"/>
          </a:xfrm>
          <a:prstGeom prst="rect">
            <a:avLst/>
          </a:prstGeom>
        </p:spPr>
        <p:txBody>
          <a:bodyPr>
            <a:norm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rgbClr val="FFD73B"/>
              </a:buClr>
            </a:pPr>
            <a:r>
              <a:rPr lang="sk-SK" altLang="sk-SK" sz="2000" dirty="0">
                <a:solidFill>
                  <a:srgbClr val="595959"/>
                </a:solidFill>
                <a:cs typeface="Arial" charset="0"/>
              </a:rPr>
              <a:t> </a:t>
            </a:r>
            <a:r>
              <a:rPr lang="en-US" altLang="sk-SK" sz="1900" u="sng" dirty="0" smtClean="0">
                <a:solidFill>
                  <a:srgbClr val="595959"/>
                </a:solidFill>
                <a:cs typeface="Arial" charset="0"/>
              </a:rPr>
              <a:t>Key Activities</a:t>
            </a:r>
            <a:r>
              <a:rPr lang="en-US" altLang="sk-SK" sz="1900" dirty="0" smtClean="0">
                <a:solidFill>
                  <a:srgbClr val="595959"/>
                </a:solidFill>
                <a:cs typeface="Arial" charset="0"/>
              </a:rPr>
              <a:t>:</a:t>
            </a: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1900" dirty="0" smtClean="0">
                <a:solidFill>
                  <a:srgbClr val="595959"/>
                </a:solidFill>
                <a:cs typeface="Arial" charset="0"/>
              </a:rPr>
              <a:t>Bank transfers </a:t>
            </a: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1900" dirty="0" smtClean="0">
                <a:solidFill>
                  <a:srgbClr val="595959"/>
                </a:solidFill>
                <a:cs typeface="Arial" charset="0"/>
              </a:rPr>
              <a:t>Processing and reconciliation of</a:t>
            </a:r>
            <a:r>
              <a:rPr lang="sk-SK" altLang="sk-SK" sz="1900" dirty="0" smtClean="0">
                <a:solidFill>
                  <a:srgbClr val="595959"/>
                </a:solidFill>
                <a:cs typeface="Arial" charset="0"/>
              </a:rPr>
              <a:t> </a:t>
            </a:r>
            <a:r>
              <a:rPr lang="nl-NL" altLang="sk-SK" sz="1900" dirty="0" smtClean="0">
                <a:solidFill>
                  <a:srgbClr val="595959"/>
                </a:solidFill>
                <a:cs typeface="Arial" charset="0"/>
              </a:rPr>
              <a:t>transactions</a:t>
            </a: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1900" dirty="0" smtClean="0">
                <a:solidFill>
                  <a:srgbClr val="595959"/>
                </a:solidFill>
                <a:cs typeface="Arial" charset="0"/>
              </a:rPr>
              <a:t>Company payment cards</a:t>
            </a: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1900" dirty="0" smtClean="0">
                <a:solidFill>
                  <a:srgbClr val="595959"/>
                </a:solidFill>
                <a:cs typeface="Arial" charset="0"/>
              </a:rPr>
              <a:t>Bank account administration, electronic banking systems</a:t>
            </a: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1900" dirty="0" smtClean="0">
                <a:solidFill>
                  <a:srgbClr val="595959"/>
                </a:solidFill>
                <a:cs typeface="Arial" charset="0"/>
              </a:rPr>
              <a:t>Individual shareholder relations</a:t>
            </a: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1900" dirty="0" smtClean="0">
                <a:solidFill>
                  <a:srgbClr val="595959"/>
                </a:solidFill>
                <a:cs typeface="Arial" charset="0"/>
              </a:rPr>
              <a:t>Internal and external reporting</a:t>
            </a: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1900" dirty="0" smtClean="0">
                <a:solidFill>
                  <a:srgbClr val="595959"/>
                </a:solidFill>
                <a:cs typeface="Arial" charset="0"/>
              </a:rPr>
              <a:t>Petty cash</a:t>
            </a:r>
            <a:endParaRPr lang="nl-NL" altLang="sk-SK" sz="1900" dirty="0">
              <a:solidFill>
                <a:srgbClr val="595959"/>
              </a:solidFill>
              <a:cs typeface="Arial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508000" y="3574757"/>
            <a:ext cx="3240000" cy="64633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o. of realized payments:</a:t>
            </a:r>
          </a:p>
          <a:p>
            <a:pPr algn="ctr"/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50,000</a:t>
            </a:r>
            <a:r>
              <a:rPr lang="sk-SK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/ </a:t>
            </a:r>
            <a:r>
              <a:rPr lang="sk-SK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year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508000" y="2088000"/>
            <a:ext cx="3240000" cy="64633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o. of banks: </a:t>
            </a:r>
          </a:p>
          <a:p>
            <a:pPr algn="ctr"/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6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08000" y="5025950"/>
            <a:ext cx="3240000" cy="92333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u="sng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o. of individual shareholders:</a:t>
            </a:r>
          </a:p>
          <a:p>
            <a:pPr algn="ctr"/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7,000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107504" y="1052736"/>
            <a:ext cx="8424456" cy="0"/>
          </a:xfrm>
          <a:prstGeom prst="line">
            <a:avLst/>
          </a:prstGeom>
          <a:ln>
            <a:solidFill>
              <a:srgbClr val="FFC000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2" name="Group 11"/>
          <p:cNvGrpSpPr/>
          <p:nvPr/>
        </p:nvGrpSpPr>
        <p:grpSpPr>
          <a:xfrm>
            <a:off x="7956376" y="403578"/>
            <a:ext cx="510730" cy="525814"/>
            <a:chOff x="1302463" y="5444705"/>
            <a:chExt cx="510730" cy="525814"/>
          </a:xfrm>
        </p:grpSpPr>
        <p:sp>
          <p:nvSpPr>
            <p:cNvPr id="13" name="TextBox 12"/>
            <p:cNvSpPr txBox="1"/>
            <p:nvPr/>
          </p:nvSpPr>
          <p:spPr>
            <a:xfrm>
              <a:off x="1302463" y="5503664"/>
              <a:ext cx="24873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8</a:t>
              </a: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00025" y="5444705"/>
              <a:ext cx="213168" cy="525814"/>
            </a:xfrm>
            <a:prstGeom prst="rect">
              <a:avLst/>
            </a:prstGeom>
          </p:spPr>
        </p:pic>
      </p:grp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5769" y="6065610"/>
            <a:ext cx="552381" cy="723810"/>
          </a:xfrm>
          <a:prstGeom prst="rect">
            <a:avLst/>
          </a:prstGeom>
        </p:spPr>
      </p:pic>
      <p:sp>
        <p:nvSpPr>
          <p:cNvPr id="16" name="Slide Number Placeholder 1"/>
          <p:cNvSpPr txBox="1">
            <a:spLocks/>
          </p:cNvSpPr>
          <p:nvPr/>
        </p:nvSpPr>
        <p:spPr>
          <a:xfrm>
            <a:off x="6876256" y="6348714"/>
            <a:ext cx="21336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7C5839F-3828-46FB-AEFF-9E0860CD0405}" type="slidenum">
              <a:rPr lang="en-GB" sz="12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r"/>
              <a:t>8</a:t>
            </a:fld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895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252000" y="360000"/>
            <a:ext cx="5805487" cy="63500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3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Risk Management</a:t>
            </a:r>
            <a:endParaRPr lang="nl-NL" sz="2300" b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Subtitel 2"/>
          <p:cNvSpPr txBox="1">
            <a:spLocks/>
          </p:cNvSpPr>
          <p:nvPr/>
        </p:nvSpPr>
        <p:spPr>
          <a:xfrm>
            <a:off x="360000" y="1440000"/>
            <a:ext cx="5279223" cy="4797312"/>
          </a:xfrm>
          <a:prstGeom prst="rect">
            <a:avLst/>
          </a:prstGeom>
        </p:spPr>
        <p:txBody>
          <a:bodyPr>
            <a:norm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ts val="600"/>
              </a:spcBef>
              <a:buClr>
                <a:srgbClr val="FFD73B"/>
              </a:buClr>
            </a:pPr>
            <a:r>
              <a:rPr lang="sk-SK" altLang="sk-SK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</a:t>
            </a:r>
            <a:r>
              <a:rPr lang="en-US" altLang="sk-SK" sz="1900" u="sng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ey Activities</a:t>
            </a:r>
            <a:r>
              <a:rPr lang="en-US" altLang="sk-SK" sz="19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:</a:t>
            </a:r>
          </a:p>
          <a:p>
            <a:pPr marL="342900" indent="-342900" eaLnBrk="1" hangingPunct="1">
              <a:lnSpc>
                <a:spcPct val="16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19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Customer credit management</a:t>
            </a:r>
          </a:p>
          <a:p>
            <a:pPr marL="342900" indent="-342900" eaLnBrk="1" hangingPunct="1">
              <a:lnSpc>
                <a:spcPct val="16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19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Credit limits</a:t>
            </a:r>
          </a:p>
          <a:p>
            <a:pPr marL="342900" indent="-342900" eaLnBrk="1" hangingPunct="1">
              <a:lnSpc>
                <a:spcPct val="16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19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Credit insurance</a:t>
            </a:r>
          </a:p>
          <a:p>
            <a:pPr marL="342900" indent="-342900" eaLnBrk="1" hangingPunct="1">
              <a:lnSpc>
                <a:spcPct val="16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19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Management of receivables, collections</a:t>
            </a:r>
          </a:p>
          <a:p>
            <a:pPr marL="342900" indent="-342900" eaLnBrk="1" hangingPunct="1">
              <a:lnSpc>
                <a:spcPct val="16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19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surance</a:t>
            </a:r>
          </a:p>
          <a:p>
            <a:pPr marL="342900" indent="-342900" eaLnBrk="1" hangingPunct="1">
              <a:lnSpc>
                <a:spcPct val="16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19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Risk mapping</a:t>
            </a:r>
          </a:p>
          <a:p>
            <a:pPr marL="342900" indent="-342900" eaLnBrk="1" hangingPunct="1">
              <a:lnSpc>
                <a:spcPct val="160000"/>
              </a:lnSpc>
              <a:spcBef>
                <a:spcPct val="20000"/>
              </a:spcBef>
              <a:buClr>
                <a:srgbClr val="FFD73B"/>
              </a:buClr>
              <a:buSzPct val="120000"/>
              <a:buFont typeface="Arial" panose="020B0604020202020204" pitchFamily="34" charset="0"/>
              <a:buChar char="•"/>
            </a:pPr>
            <a:r>
              <a:rPr lang="nl-NL" altLang="sk-SK" sz="19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ternal reporting</a:t>
            </a:r>
            <a:endParaRPr lang="nl-NL" altLang="sk-SK" sz="1900" dirty="0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6069581"/>
              </p:ext>
            </p:extLst>
          </p:nvPr>
        </p:nvGraphicFramePr>
        <p:xfrm>
          <a:off x="5530850" y="2040564"/>
          <a:ext cx="3217150" cy="1002920"/>
        </p:xfrm>
        <a:graphic>
          <a:graphicData uri="http://schemas.openxmlformats.org/drawingml/2006/table">
            <a:tbl>
              <a:tblPr/>
              <a:tblGrid>
                <a:gridCol w="1841500"/>
                <a:gridCol w="1375650"/>
              </a:tblGrid>
              <a:tr h="2507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olesale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</a:t>
                      </a:r>
                      <a:r>
                        <a:rPr lang="en-US" sz="1400" b="0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</a:t>
                      </a:r>
                      <a:r>
                        <a:rPr lang="sk-SK" sz="1400" b="0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4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507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BS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</a:t>
                      </a:r>
                      <a:r>
                        <a:rPr lang="en-US" sz="1400" b="0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</a:t>
                      </a:r>
                      <a:r>
                        <a:rPr lang="sk-SK" sz="1400" b="0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4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07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TCHEM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</a:t>
                      </a:r>
                      <a:r>
                        <a:rPr lang="en-US" sz="1400" b="0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r>
                        <a:rPr lang="sk-SK" sz="1400" b="0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  <a:endParaRPr lang="en-US" sz="14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07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rd customers</a:t>
                      </a:r>
                    </a:p>
                  </a:txBody>
                  <a:tcPr marL="72000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1400" b="0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0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5,12</a:t>
                      </a:r>
                      <a:r>
                        <a:rPr lang="sk-SK" sz="1400" b="0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4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725160" y="1643359"/>
            <a:ext cx="25730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u="sng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umber of customers</a:t>
            </a:r>
            <a:endParaRPr lang="en-US" u="sng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508000" y="3276720"/>
            <a:ext cx="3240000" cy="75713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ecurity on credit limits: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endParaRPr lang="en-US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>
              <a:lnSpc>
                <a:spcPct val="120000"/>
              </a:lnSpc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86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508000" y="4155729"/>
            <a:ext cx="3240000" cy="75713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o. of </a:t>
            </a:r>
            <a:r>
              <a:rPr lang="en-US" u="sng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block</a:t>
            </a:r>
            <a:r>
              <a:rPr lang="sk-SK" u="sng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d</a:t>
            </a:r>
            <a:r>
              <a:rPr lang="sk-SK" u="sng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sk-SK" u="sng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rders</a:t>
            </a:r>
            <a:r>
              <a:rPr lang="en-US" u="sng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: </a:t>
            </a:r>
          </a:p>
          <a:p>
            <a:pPr algn="ctr">
              <a:lnSpc>
                <a:spcPct val="120000"/>
              </a:lnSpc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15,000</a:t>
            </a:r>
            <a:r>
              <a:rPr lang="sk-SK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/ </a:t>
            </a:r>
            <a:r>
              <a:rPr lang="sk-SK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year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530850" y="5034738"/>
            <a:ext cx="3240000" cy="75713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verdue </a:t>
            </a:r>
            <a:r>
              <a:rPr lang="en-US" u="sng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atio: </a:t>
            </a:r>
          </a:p>
          <a:p>
            <a:pPr algn="ctr">
              <a:lnSpc>
                <a:spcPct val="120000"/>
              </a:lnSpc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≈5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%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107504" y="1052736"/>
            <a:ext cx="8424456" cy="0"/>
          </a:xfrm>
          <a:prstGeom prst="line">
            <a:avLst/>
          </a:prstGeom>
          <a:ln>
            <a:solidFill>
              <a:srgbClr val="FFC000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/>
        </p:nvGrpSpPr>
        <p:grpSpPr>
          <a:xfrm>
            <a:off x="7956376" y="403578"/>
            <a:ext cx="510730" cy="525814"/>
            <a:chOff x="1302463" y="5444705"/>
            <a:chExt cx="510730" cy="525814"/>
          </a:xfrm>
        </p:grpSpPr>
        <p:sp>
          <p:nvSpPr>
            <p:cNvPr id="18" name="TextBox 17"/>
            <p:cNvSpPr txBox="1"/>
            <p:nvPr/>
          </p:nvSpPr>
          <p:spPr>
            <a:xfrm>
              <a:off x="1302463" y="5503664"/>
              <a:ext cx="24873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9</a:t>
              </a:r>
              <a:endPara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00025" y="5444705"/>
              <a:ext cx="213168" cy="525814"/>
            </a:xfrm>
            <a:prstGeom prst="rect">
              <a:avLst/>
            </a:prstGeom>
          </p:spPr>
        </p:pic>
      </p:grpSp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5769" y="6065610"/>
            <a:ext cx="552381" cy="723810"/>
          </a:xfrm>
          <a:prstGeom prst="rect">
            <a:avLst/>
          </a:prstGeom>
        </p:spPr>
      </p:pic>
      <p:sp>
        <p:nvSpPr>
          <p:cNvPr id="21" name="Slide Number Placeholder 1"/>
          <p:cNvSpPr txBox="1">
            <a:spLocks/>
          </p:cNvSpPr>
          <p:nvPr/>
        </p:nvSpPr>
        <p:spPr>
          <a:xfrm>
            <a:off x="6876256" y="6348714"/>
            <a:ext cx="21336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7C5839F-3828-46FB-AEFF-9E0860CD0405}" type="slidenum">
              <a:rPr lang="en-GB" sz="12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 algn="r"/>
              <a:t>9</a:t>
            </a:fld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9520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lapértelmezett terv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lapértelmezett terv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OD_final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Alapértelmezett terv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lapértelmezett terv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Alapértelmezett terv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ema 1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uvod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2</Template>
  <TotalTime>263</TotalTime>
  <Words>623</Words>
  <Application>Microsoft Office PowerPoint</Application>
  <PresentationFormat>Prezentácia na obrazovke (4:3)</PresentationFormat>
  <Paragraphs>151</Paragraphs>
  <Slides>14</Slides>
  <Notes>0</Notes>
  <HiddenSlides>0</HiddenSlides>
  <MMClips>0</MMClips>
  <ScaleCrop>false</ScaleCrop>
  <HeadingPairs>
    <vt:vector size="6" baseType="variant">
      <vt:variant>
        <vt:lpstr>Motív</vt:lpstr>
      </vt:variant>
      <vt:variant>
        <vt:i4>7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14</vt:i4>
      </vt:variant>
    </vt:vector>
  </HeadingPairs>
  <TitlesOfParts>
    <vt:vector size="22" baseType="lpstr">
      <vt:lpstr>Theme2</vt:lpstr>
      <vt:lpstr>BOD_final</vt:lpstr>
      <vt:lpstr>1_Alapértelmezett terv</vt:lpstr>
      <vt:lpstr>Tema 1</vt:lpstr>
      <vt:lpstr>Office Theme</vt:lpstr>
      <vt:lpstr>uvod</vt:lpstr>
      <vt:lpstr>1_Office Theme</vt:lpstr>
      <vt:lpstr>think-cell Slide</vt:lpstr>
      <vt:lpstr>Treasury in Slovnaf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</vt:vector>
  </TitlesOfParts>
  <Company>MOL NyRt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ovnaft Treasury Function</dc:title>
  <dc:creator>Uhrín Bohumil</dc:creator>
  <cp:lastModifiedBy>Janyík Ladislav</cp:lastModifiedBy>
  <cp:revision>24</cp:revision>
  <dcterms:created xsi:type="dcterms:W3CDTF">2015-01-16T13:55:08Z</dcterms:created>
  <dcterms:modified xsi:type="dcterms:W3CDTF">2015-01-20T14:36:16Z</dcterms:modified>
</cp:coreProperties>
</file>